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25"/>
  </p:sldMasterIdLst>
  <p:notesMasterIdLst>
    <p:notesMasterId r:id="rId41"/>
  </p:notesMasterIdLst>
  <p:sldIdLst>
    <p:sldId id="362" r:id="rId26"/>
    <p:sldId id="2147471410" r:id="rId27"/>
    <p:sldId id="2147473781" r:id="rId28"/>
    <p:sldId id="2147473782" r:id="rId29"/>
    <p:sldId id="2147473796" r:id="rId30"/>
    <p:sldId id="2147473775" r:id="rId31"/>
    <p:sldId id="2147473792" r:id="rId32"/>
    <p:sldId id="2147469716" r:id="rId33"/>
    <p:sldId id="2147473793" r:id="rId34"/>
    <p:sldId id="2147473794" r:id="rId35"/>
    <p:sldId id="2147471407" r:id="rId36"/>
    <p:sldId id="2147473795" r:id="rId37"/>
    <p:sldId id="2147471411" r:id="rId38"/>
    <p:sldId id="361" r:id="rId39"/>
    <p:sldId id="356" r:id="rId4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FFBA"/>
    <a:srgbClr val="00D74D"/>
    <a:srgbClr val="000000"/>
    <a:srgbClr val="093FB4"/>
    <a:srgbClr val="FF820A"/>
    <a:srgbClr val="FFB500"/>
    <a:srgbClr val="B378F4"/>
    <a:srgbClr val="2F8C16"/>
    <a:srgbClr val="80C4FF"/>
    <a:srgbClr val="3F3B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BECC80F-B639-4E78-9455-62172EF358A6}" v="66" dt="2024-05-08T08:31:09.208"/>
  </p1510:revLst>
</p1510:revInfo>
</file>

<file path=ppt/tableStyles.xml><?xml version="1.0" encoding="utf-8"?>
<a:tblStyleLst xmlns:a="http://schemas.openxmlformats.org/drawingml/2006/main" def="{5C22544A-7EE6-4342-B048-85BDC9FD1C3A}">
  <a:tblStyle styleId="{0817EA92-75D0-4044-A80A-286907CE0DDB}" styleName="Custom Table 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bg1"/>
              </a:solidFill>
            </a:ln>
          </a:left>
          <a:right>
            <a:ln w="0" cmpd="sng">
              <a:solidFill>
                <a:schemeClr val="bg1"/>
              </a:solidFill>
            </a:ln>
          </a:right>
          <a:top>
            <a:ln w="28575" cmpd="sng">
              <a:solidFill>
                <a:schemeClr val="dk1"/>
              </a:solidFill>
            </a:ln>
          </a:top>
          <a:bottom>
            <a:ln w="0" cmpd="sng">
              <a:solidFill>
                <a:schemeClr val="bg1"/>
              </a:solidFill>
            </a:ln>
          </a:bottom>
          <a:insideH>
            <a:ln w="0" cmpd="sng">
              <a:solidFill>
                <a:schemeClr val="bg1"/>
              </a:solidFill>
            </a:ln>
          </a:insideH>
          <a:insideV>
            <a:ln w="0" cmpd="sng">
              <a:solidFill>
                <a:schemeClr val="bg1"/>
              </a:solidFill>
            </a:ln>
          </a:insideV>
        </a:tcBdr>
        <a:fill>
          <a:solidFill>
            <a:srgbClr val="FFFFFF"/>
          </a:solidFill>
        </a:fill>
      </a:tcStyle>
    </a:wholeTbl>
    <a:band1H>
      <a:tcStyle>
        <a:tcBdr/>
        <a:fill>
          <a:solidFill>
            <a:schemeClr val="accent6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FFFFFF"/>
          </a:solidFill>
        </a:fill>
      </a:tcStyle>
    </a:band1V>
    <a:band2V>
      <a:tcStyle>
        <a:tcBdr/>
      </a:tcStyle>
    </a:band2V>
    <a:lastCol>
      <a:tcTxStyle>
        <a:fontRef idx="minor">
          <a:prstClr val="black"/>
        </a:fontRef>
        <a:schemeClr val="dk1"/>
      </a:tcTxStyle>
      <a:tcStyle>
        <a:tcBdr/>
        <a:fill>
          <a:solidFill>
            <a:srgbClr val="FFFFFF"/>
          </a:solidFill>
        </a:fill>
      </a:tcStyle>
    </a:lastCol>
    <a:firstCol>
      <a:tcTxStyle>
        <a:fontRef idx="minor">
          <a:prstClr val="black"/>
        </a:fontRef>
        <a:schemeClr val="dk1"/>
      </a:tcTxStyle>
      <a:tcStyle>
        <a:tcBdr/>
        <a:fill>
          <a:solidFill>
            <a:srgbClr val="FFFFFF"/>
          </a:solidFill>
        </a:fill>
      </a:tcStyle>
    </a:firstCol>
    <a:lastRow>
      <a:tcTxStyle>
        <a:fontRef idx="minor">
          <a:prstClr val="black"/>
        </a:fontRef>
        <a:schemeClr val="dk1"/>
      </a:tcTxStyle>
      <a:tcStyle>
        <a:tcBdr>
          <a:top>
            <a:ln w="0" cmpd="sng">
              <a:solidFill>
                <a:schemeClr val="lt1"/>
              </a:solidFill>
            </a:ln>
          </a:top>
        </a:tcBdr>
        <a:fill>
          <a:solidFill>
            <a:srgbClr val="FFFFFF"/>
          </a:solidFill>
        </a:fill>
      </a:tcStyle>
    </a:lastRow>
    <a:firstRow>
      <a:tcTxStyle>
        <a:fontRef idx="minor">
          <a:prstClr val="black"/>
        </a:fontRef>
        <a:schemeClr val="dk1"/>
      </a:tcTxStyle>
      <a:tcStyle>
        <a:tcBdr>
          <a:bottom>
            <a:ln w="0" cmpd="sng">
              <a:solidFill>
                <a:schemeClr val="lt1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1977" autoAdjust="0"/>
  </p:normalViewPr>
  <p:slideViewPr>
    <p:cSldViewPr snapToGrid="0">
      <p:cViewPr varScale="1">
        <p:scale>
          <a:sx n="133" d="100"/>
          <a:sy n="133" d="100"/>
        </p:scale>
        <p:origin x="276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1.xml"/><Relationship Id="rId39" Type="http://schemas.openxmlformats.org/officeDocument/2006/relationships/slide" Target="slides/slide14.xml"/><Relationship Id="rId21" Type="http://schemas.openxmlformats.org/officeDocument/2006/relationships/customXml" Target="../customXml/item21.xml"/><Relationship Id="rId34" Type="http://schemas.openxmlformats.org/officeDocument/2006/relationships/slide" Target="slides/slide9.xml"/><Relationship Id="rId42" Type="http://schemas.openxmlformats.org/officeDocument/2006/relationships/presProps" Target="pres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" Target="slides/slide4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slide" Target="slides/slide7.xml"/><Relationship Id="rId37" Type="http://schemas.openxmlformats.org/officeDocument/2006/relationships/slide" Target="slides/slide12.xml"/><Relationship Id="rId40" Type="http://schemas.openxmlformats.org/officeDocument/2006/relationships/slide" Target="slides/slide15.xml"/><Relationship Id="rId45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" Target="slides/slide3.xml"/><Relationship Id="rId36" Type="http://schemas.openxmlformats.org/officeDocument/2006/relationships/slide" Target="slides/slide1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6.xml"/><Relationship Id="rId44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" Target="slides/slide2.xml"/><Relationship Id="rId30" Type="http://schemas.openxmlformats.org/officeDocument/2006/relationships/slide" Target="slides/slide5.xml"/><Relationship Id="rId35" Type="http://schemas.openxmlformats.org/officeDocument/2006/relationships/slide" Target="slides/slide10.xml"/><Relationship Id="rId43" Type="http://schemas.openxmlformats.org/officeDocument/2006/relationships/viewProps" Target="viewProps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Master" Target="slideMasters/slideMaster1.xml"/><Relationship Id="rId33" Type="http://schemas.openxmlformats.org/officeDocument/2006/relationships/slide" Target="slides/slide8.xml"/><Relationship Id="rId38" Type="http://schemas.openxmlformats.org/officeDocument/2006/relationships/slide" Target="slides/slide13.xml"/><Relationship Id="rId46" Type="http://schemas.microsoft.com/office/2015/10/relationships/revisionInfo" Target="revisionInfo.xml"/><Relationship Id="rId20" Type="http://schemas.openxmlformats.org/officeDocument/2006/relationships/customXml" Target="../customXml/item20.xml"/><Relationship Id="rId41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A3C172-8945-4189-AABF-306FFB3D052F}" type="datetimeFigureOut">
              <a:rPr lang="en-US" smtClean="0"/>
              <a:t>5/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C6894C-2343-459D-88D7-5041FE4A84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762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sv-SE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Vad är egentligen Hitachi Energy´s roll när det kommer till vätgas?</a:t>
            </a:r>
            <a:endParaRPr lang="sv-SE" sz="1100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sv-SE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ur ansluter man grön vätgas till elnätet?</a:t>
            </a:r>
            <a:endParaRPr lang="sv-SE" sz="1100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sv-SE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ur säkerställer vi god elkvalté för vätgasapplikationer?</a:t>
            </a:r>
            <a:endParaRPr lang="sv-SE" sz="1100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sv-SE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lt: Elkvalité, ska det vara nödvändigt?</a:t>
            </a:r>
            <a:endParaRPr lang="sv-SE" sz="1100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sv-SE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yFlex vätgasgenerator. Ett minne blott med dieselgeneratorer?</a:t>
            </a:r>
            <a:endParaRPr lang="sv-SE" sz="1100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C6894C-2343-459D-88D7-5041FE4A84B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373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dirty="0">
                <a:solidFill>
                  <a:schemeClr val="bg1"/>
                </a:solidFill>
              </a:rPr>
              <a:t>Both generation and load side of the power grid are chang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dirty="0"/>
              <a:t>Understanding both sides and how to connect them is paramount to enable overall system optimiz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dirty="0">
                <a:solidFill>
                  <a:srgbClr val="262626"/>
                </a:solidFill>
                <a:cs typeface="Arial" panose="020B0604020202020204" pitchFamily="34" charset="0"/>
              </a:rPr>
              <a:t>Aging </a:t>
            </a:r>
            <a:r>
              <a:rPr lang="en-US" sz="1200" b="1" dirty="0" err="1">
                <a:solidFill>
                  <a:srgbClr val="262626"/>
                </a:solidFill>
                <a:cs typeface="Arial" panose="020B0604020202020204" pitchFamily="34" charset="0"/>
              </a:rPr>
              <a:t>electrolyzis</a:t>
            </a:r>
            <a:endParaRPr lang="en-US" sz="1200" b="1" dirty="0">
              <a:solidFill>
                <a:srgbClr val="262626"/>
              </a:solidFill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b="1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>
              <a:solidFill>
                <a:schemeClr val="bg1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C6894C-2343-459D-88D7-5041FE4A84B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5549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/>
              <a:t>Studies as guidance towards best AC/DC rectification solution enabling grid code compliance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/>
              <a:t>Containerized power supply system including rectifiers, dry rectifier transformer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/>
              <a:t>Water cooling of dry transformer enabling re-use of dissipated heat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C6894C-2343-459D-88D7-5041FE4A84B3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10478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From 400 kVA to 1 MVA+</a:t>
            </a:r>
            <a:endParaRPr lang="en-CH" sz="1200" dirty="0"/>
          </a:p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C6894C-2343-459D-88D7-5041FE4A84B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3517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produced 1 MWh and mitigated roughly 200 kg of diesel which is over 600 kg of CO2 which and consumed roughly 70-100 kg of H2. This was just a trial demonstration.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C6894C-2343-459D-88D7-5041FE4A84B3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1486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C6894C-2343-459D-88D7-5041FE4A84B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3836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11" Type="http://schemas.openxmlformats.org/officeDocument/2006/relationships/image" Target="../media/image12.emf"/><Relationship Id="rId5" Type="http://schemas.openxmlformats.org/officeDocument/2006/relationships/image" Target="../media/image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11" Type="http://schemas.openxmlformats.org/officeDocument/2006/relationships/image" Target="../media/image12.emf"/><Relationship Id="rId5" Type="http://schemas.openxmlformats.org/officeDocument/2006/relationships/image" Target="../media/image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11" Type="http://schemas.openxmlformats.org/officeDocument/2006/relationships/image" Target="../media/image12.emf"/><Relationship Id="rId5" Type="http://schemas.openxmlformats.org/officeDocument/2006/relationships/image" Target="../media/image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2.emf"/><Relationship Id="rId7" Type="http://schemas.openxmlformats.org/officeDocument/2006/relationships/image" Target="../media/image7.sv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svg"/><Relationship Id="rId5" Type="http://schemas.openxmlformats.org/officeDocument/2006/relationships/image" Target="../media/image5.sv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- Brighter Pictur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F863E3D-E8C6-4587-A9FE-547D1D37E58C}"/>
              </a:ext>
            </a:extLst>
          </p:cNvPr>
          <p:cNvSpPr/>
          <p:nvPr userDrawn="1"/>
        </p:nvSpPr>
        <p:spPr>
          <a:xfrm>
            <a:off x="9099329" y="344152"/>
            <a:ext cx="2830711" cy="103221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GB" sz="1400" err="1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B87F6C0-6A0D-49A9-B92D-47AC66E82F62}"/>
              </a:ext>
            </a:extLst>
          </p:cNvPr>
          <p:cNvSpPr/>
          <p:nvPr userDrawn="1"/>
        </p:nvSpPr>
        <p:spPr>
          <a:xfrm rot="20700000">
            <a:off x="11630945" y="891479"/>
            <a:ext cx="125787" cy="6268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GB" sz="1400" err="1">
              <a:solidFill>
                <a:schemeClr val="tx1"/>
              </a:solidFill>
            </a:endParaRP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7B060B46-A36B-42A8-BC2B-4D51C11E5CF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" y="4"/>
            <a:ext cx="12193196" cy="4738686"/>
          </a:xfrm>
          <a:custGeom>
            <a:avLst/>
            <a:gdLst>
              <a:gd name="connsiteX0" fmla="*/ 9943716 w 12193196"/>
              <a:gd name="connsiteY0" fmla="*/ 1018573 h 4738686"/>
              <a:gd name="connsiteX1" fmla="*/ 9943716 w 12193196"/>
              <a:gd name="connsiteY1" fmla="*/ 1018583 h 4738686"/>
              <a:gd name="connsiteX2" fmla="*/ 9972804 w 12193196"/>
              <a:gd name="connsiteY2" fmla="*/ 1068171 h 4738686"/>
              <a:gd name="connsiteX3" fmla="*/ 9944107 w 12193196"/>
              <a:gd name="connsiteY3" fmla="*/ 1122040 h 4738686"/>
              <a:gd name="connsiteX4" fmla="*/ 9914039 w 12193196"/>
              <a:gd name="connsiteY4" fmla="*/ 1079406 h 4738686"/>
              <a:gd name="connsiteX5" fmla="*/ 9914039 w 12193196"/>
              <a:gd name="connsiteY5" fmla="*/ 1067545 h 4738686"/>
              <a:gd name="connsiteX6" fmla="*/ 9943716 w 12193196"/>
              <a:gd name="connsiteY6" fmla="*/ 1018573 h 4738686"/>
              <a:gd name="connsiteX7" fmla="*/ 11408435 w 12193196"/>
              <a:gd name="connsiteY7" fmla="*/ 1012941 h 4738686"/>
              <a:gd name="connsiteX8" fmla="*/ 11434684 w 12193196"/>
              <a:gd name="connsiteY8" fmla="*/ 1041128 h 4738686"/>
              <a:gd name="connsiteX9" fmla="*/ 11379836 w 12193196"/>
              <a:gd name="connsiteY9" fmla="*/ 1041128 h 4738686"/>
              <a:gd name="connsiteX10" fmla="*/ 11408435 w 12193196"/>
              <a:gd name="connsiteY10" fmla="*/ 1012941 h 4738686"/>
              <a:gd name="connsiteX11" fmla="*/ 10350271 w 12193196"/>
              <a:gd name="connsiteY11" fmla="*/ 1012834 h 4738686"/>
              <a:gd name="connsiteX12" fmla="*/ 10376618 w 12193196"/>
              <a:gd name="connsiteY12" fmla="*/ 1041021 h 4738686"/>
              <a:gd name="connsiteX13" fmla="*/ 10321770 w 12193196"/>
              <a:gd name="connsiteY13" fmla="*/ 1041021 h 4738686"/>
              <a:gd name="connsiteX14" fmla="*/ 10350271 w 12193196"/>
              <a:gd name="connsiteY14" fmla="*/ 1012834 h 4738686"/>
              <a:gd name="connsiteX15" fmla="*/ 10912556 w 12193196"/>
              <a:gd name="connsiteY15" fmla="*/ 1012833 h 4738686"/>
              <a:gd name="connsiteX16" fmla="*/ 10938805 w 12193196"/>
              <a:gd name="connsiteY16" fmla="*/ 1041021 h 4738686"/>
              <a:gd name="connsiteX17" fmla="*/ 10883957 w 12193196"/>
              <a:gd name="connsiteY17" fmla="*/ 1041021 h 4738686"/>
              <a:gd name="connsiteX18" fmla="*/ 10912556 w 12193196"/>
              <a:gd name="connsiteY18" fmla="*/ 1012833 h 4738686"/>
              <a:gd name="connsiteX19" fmla="*/ 11605397 w 12193196"/>
              <a:gd name="connsiteY19" fmla="*/ 1000835 h 4738686"/>
              <a:gd name="connsiteX20" fmla="*/ 11568179 w 12193196"/>
              <a:gd name="connsiteY20" fmla="*/ 1043841 h 4738686"/>
              <a:gd name="connsiteX21" fmla="*/ 11535270 w 12193196"/>
              <a:gd name="connsiteY21" fmla="*/ 1000923 h 4738686"/>
              <a:gd name="connsiteX22" fmla="*/ 11476897 w 12193196"/>
              <a:gd name="connsiteY22" fmla="*/ 1000923 h 4738686"/>
              <a:gd name="connsiteX23" fmla="*/ 11476897 w 12193196"/>
              <a:gd name="connsiteY23" fmla="*/ 1011922 h 4738686"/>
              <a:gd name="connsiteX24" fmla="*/ 11479443 w 12193196"/>
              <a:gd name="connsiteY24" fmla="*/ 1012079 h 4738686"/>
              <a:gd name="connsiteX25" fmla="*/ 11516074 w 12193196"/>
              <a:gd name="connsiteY25" fmla="*/ 1033136 h 4738686"/>
              <a:gd name="connsiteX26" fmla="*/ 11539971 w 12193196"/>
              <a:gd name="connsiteY26" fmla="*/ 1064899 h 4738686"/>
              <a:gd name="connsiteX27" fmla="*/ 11500893 w 12193196"/>
              <a:gd name="connsiteY27" fmla="*/ 1110021 h 4738686"/>
              <a:gd name="connsiteX28" fmla="*/ 11541245 w 12193196"/>
              <a:gd name="connsiteY28" fmla="*/ 1110021 h 4738686"/>
              <a:gd name="connsiteX29" fmla="*/ 11558776 w 12193196"/>
              <a:gd name="connsiteY29" fmla="*/ 1089874 h 4738686"/>
              <a:gd name="connsiteX30" fmla="*/ 11596386 w 12193196"/>
              <a:gd name="connsiteY30" fmla="*/ 1139824 h 4738686"/>
              <a:gd name="connsiteX31" fmla="*/ 11641635 w 12193196"/>
              <a:gd name="connsiteY31" fmla="*/ 1139824 h 4738686"/>
              <a:gd name="connsiteX32" fmla="*/ 11569942 w 12193196"/>
              <a:gd name="connsiteY32" fmla="*/ 1046192 h 4738686"/>
              <a:gd name="connsiteX33" fmla="*/ 11606474 w 12193196"/>
              <a:gd name="connsiteY33" fmla="*/ 1046221 h 4738686"/>
              <a:gd name="connsiteX34" fmla="*/ 11645651 w 12193196"/>
              <a:gd name="connsiteY34" fmla="*/ 1000835 h 4738686"/>
              <a:gd name="connsiteX35" fmla="*/ 11409709 w 12193196"/>
              <a:gd name="connsiteY35" fmla="*/ 997750 h 4738686"/>
              <a:gd name="connsiteX36" fmla="*/ 11338211 w 12193196"/>
              <a:gd name="connsiteY36" fmla="*/ 1065684 h 4738686"/>
              <a:gd name="connsiteX37" fmla="*/ 11421168 w 12193196"/>
              <a:gd name="connsiteY37" fmla="*/ 1143008 h 4738686"/>
              <a:gd name="connsiteX38" fmla="*/ 11467788 w 12193196"/>
              <a:gd name="connsiteY38" fmla="*/ 1135231 h 4738686"/>
              <a:gd name="connsiteX39" fmla="*/ 11470041 w 12193196"/>
              <a:gd name="connsiteY39" fmla="*/ 1134527 h 4738686"/>
              <a:gd name="connsiteX40" fmla="*/ 11470041 w 12193196"/>
              <a:gd name="connsiteY40" fmla="*/ 1116084 h 4738686"/>
              <a:gd name="connsiteX41" fmla="*/ 11466417 w 12193196"/>
              <a:gd name="connsiteY41" fmla="*/ 1117376 h 4738686"/>
              <a:gd name="connsiteX42" fmla="*/ 11436545 w 12193196"/>
              <a:gd name="connsiteY42" fmla="*/ 1122088 h 4738686"/>
              <a:gd name="connsiteX43" fmla="*/ 11379738 w 12193196"/>
              <a:gd name="connsiteY43" fmla="*/ 1058034 h 4738686"/>
              <a:gd name="connsiteX44" fmla="*/ 11472979 w 12193196"/>
              <a:gd name="connsiteY44" fmla="*/ 1058034 h 4738686"/>
              <a:gd name="connsiteX45" fmla="*/ 11472979 w 12193196"/>
              <a:gd name="connsiteY45" fmla="*/ 1055330 h 4738686"/>
              <a:gd name="connsiteX46" fmla="*/ 11409709 w 12193196"/>
              <a:gd name="connsiteY46" fmla="*/ 997750 h 4738686"/>
              <a:gd name="connsiteX47" fmla="*/ 9781426 w 12193196"/>
              <a:gd name="connsiteY47" fmla="*/ 997723 h 4738686"/>
              <a:gd name="connsiteX48" fmla="*/ 9724032 w 12193196"/>
              <a:gd name="connsiteY48" fmla="*/ 1038926 h 4738686"/>
              <a:gd name="connsiteX49" fmla="*/ 9765951 w 12193196"/>
              <a:gd name="connsiteY49" fmla="*/ 1082648 h 4738686"/>
              <a:gd name="connsiteX50" fmla="*/ 9795725 w 12193196"/>
              <a:gd name="connsiteY50" fmla="*/ 1108378 h 4738686"/>
              <a:gd name="connsiteX51" fmla="*/ 9770261 w 12193196"/>
              <a:gd name="connsiteY51" fmla="*/ 1124901 h 4738686"/>
              <a:gd name="connsiteX52" fmla="*/ 9728439 w 12193196"/>
              <a:gd name="connsiteY52" fmla="*/ 1110376 h 4738686"/>
              <a:gd name="connsiteX53" fmla="*/ 9724326 w 12193196"/>
              <a:gd name="connsiteY53" fmla="*/ 1107888 h 4738686"/>
              <a:gd name="connsiteX54" fmla="*/ 9724326 w 12193196"/>
              <a:gd name="connsiteY54" fmla="*/ 1137271 h 4738686"/>
              <a:gd name="connsiteX55" fmla="*/ 9727166 w 12193196"/>
              <a:gd name="connsiteY55" fmla="*/ 1137888 h 4738686"/>
              <a:gd name="connsiteX56" fmla="*/ 9768987 w 12193196"/>
              <a:gd name="connsiteY56" fmla="*/ 1142971 h 4738686"/>
              <a:gd name="connsiteX57" fmla="*/ 9830593 w 12193196"/>
              <a:gd name="connsiteY57" fmla="*/ 1100631 h 4738686"/>
              <a:gd name="connsiteX58" fmla="*/ 9786911 w 12193196"/>
              <a:gd name="connsiteY58" fmla="*/ 1052913 h 4738686"/>
              <a:gd name="connsiteX59" fmla="*/ 9786911 w 12193196"/>
              <a:gd name="connsiteY59" fmla="*/ 1052884 h 4738686"/>
              <a:gd name="connsiteX60" fmla="*/ 9758899 w 12193196"/>
              <a:gd name="connsiteY60" fmla="*/ 1028779 h 4738686"/>
              <a:gd name="connsiteX61" fmla="*/ 9779075 w 12193196"/>
              <a:gd name="connsiteY61" fmla="*/ 1015714 h 4738686"/>
              <a:gd name="connsiteX62" fmla="*/ 9814824 w 12193196"/>
              <a:gd name="connsiteY62" fmla="*/ 1028006 h 4738686"/>
              <a:gd name="connsiteX63" fmla="*/ 9820799 w 12193196"/>
              <a:gd name="connsiteY63" fmla="*/ 1031649 h 4738686"/>
              <a:gd name="connsiteX64" fmla="*/ 9820799 w 12193196"/>
              <a:gd name="connsiteY64" fmla="*/ 1003079 h 4738686"/>
              <a:gd name="connsiteX65" fmla="*/ 9816097 w 12193196"/>
              <a:gd name="connsiteY65" fmla="*/ 1002101 h 4738686"/>
              <a:gd name="connsiteX66" fmla="*/ 9781426 w 12193196"/>
              <a:gd name="connsiteY66" fmla="*/ 997723 h 4738686"/>
              <a:gd name="connsiteX67" fmla="*/ 10913830 w 12193196"/>
              <a:gd name="connsiteY67" fmla="*/ 997682 h 4738686"/>
              <a:gd name="connsiteX68" fmla="*/ 10842430 w 12193196"/>
              <a:gd name="connsiteY68" fmla="*/ 1065566 h 4738686"/>
              <a:gd name="connsiteX69" fmla="*/ 10925289 w 12193196"/>
              <a:gd name="connsiteY69" fmla="*/ 1142940 h 4738686"/>
              <a:gd name="connsiteX70" fmla="*/ 10971909 w 12193196"/>
              <a:gd name="connsiteY70" fmla="*/ 1135104 h 4738686"/>
              <a:gd name="connsiteX71" fmla="*/ 10974162 w 12193196"/>
              <a:gd name="connsiteY71" fmla="*/ 1134399 h 4738686"/>
              <a:gd name="connsiteX72" fmla="*/ 10974162 w 12193196"/>
              <a:gd name="connsiteY72" fmla="*/ 1115976 h 4738686"/>
              <a:gd name="connsiteX73" fmla="*/ 10970538 w 12193196"/>
              <a:gd name="connsiteY73" fmla="*/ 1117289 h 4738686"/>
              <a:gd name="connsiteX74" fmla="*/ 10940666 w 12193196"/>
              <a:gd name="connsiteY74" fmla="*/ 1122000 h 4738686"/>
              <a:gd name="connsiteX75" fmla="*/ 10883957 w 12193196"/>
              <a:gd name="connsiteY75" fmla="*/ 1057926 h 4738686"/>
              <a:gd name="connsiteX76" fmla="*/ 10977100 w 12193196"/>
              <a:gd name="connsiteY76" fmla="*/ 1057926 h 4738686"/>
              <a:gd name="connsiteX77" fmla="*/ 10977100 w 12193196"/>
              <a:gd name="connsiteY77" fmla="*/ 1055242 h 4738686"/>
              <a:gd name="connsiteX78" fmla="*/ 10913830 w 12193196"/>
              <a:gd name="connsiteY78" fmla="*/ 997682 h 4738686"/>
              <a:gd name="connsiteX79" fmla="*/ 10351643 w 12193196"/>
              <a:gd name="connsiteY79" fmla="*/ 997682 h 4738686"/>
              <a:gd name="connsiteX80" fmla="*/ 10280145 w 12193196"/>
              <a:gd name="connsiteY80" fmla="*/ 1065566 h 4738686"/>
              <a:gd name="connsiteX81" fmla="*/ 10363102 w 12193196"/>
              <a:gd name="connsiteY81" fmla="*/ 1142940 h 4738686"/>
              <a:gd name="connsiteX82" fmla="*/ 10409722 w 12193196"/>
              <a:gd name="connsiteY82" fmla="*/ 1135104 h 4738686"/>
              <a:gd name="connsiteX83" fmla="*/ 10411975 w 12193196"/>
              <a:gd name="connsiteY83" fmla="*/ 1134399 h 4738686"/>
              <a:gd name="connsiteX84" fmla="*/ 10411975 w 12193196"/>
              <a:gd name="connsiteY84" fmla="*/ 1115976 h 4738686"/>
              <a:gd name="connsiteX85" fmla="*/ 10408351 w 12193196"/>
              <a:gd name="connsiteY85" fmla="*/ 1117289 h 4738686"/>
              <a:gd name="connsiteX86" fmla="*/ 10378479 w 12193196"/>
              <a:gd name="connsiteY86" fmla="*/ 1122000 h 4738686"/>
              <a:gd name="connsiteX87" fmla="*/ 10321672 w 12193196"/>
              <a:gd name="connsiteY87" fmla="*/ 1057926 h 4738686"/>
              <a:gd name="connsiteX88" fmla="*/ 10414913 w 12193196"/>
              <a:gd name="connsiteY88" fmla="*/ 1057926 h 4738686"/>
              <a:gd name="connsiteX89" fmla="*/ 10414913 w 12193196"/>
              <a:gd name="connsiteY89" fmla="*/ 1055242 h 4738686"/>
              <a:gd name="connsiteX90" fmla="*/ 10351643 w 12193196"/>
              <a:gd name="connsiteY90" fmla="*/ 997682 h 4738686"/>
              <a:gd name="connsiteX91" fmla="*/ 10104241 w 12193196"/>
              <a:gd name="connsiteY91" fmla="*/ 997212 h 4738686"/>
              <a:gd name="connsiteX92" fmla="*/ 10101107 w 12193196"/>
              <a:gd name="connsiteY92" fmla="*/ 997702 h 4738686"/>
              <a:gd name="connsiteX93" fmla="*/ 10040873 w 12193196"/>
              <a:gd name="connsiteY93" fmla="*/ 1007280 h 4738686"/>
              <a:gd name="connsiteX94" fmla="*/ 10040873 w 12193196"/>
              <a:gd name="connsiteY94" fmla="*/ 1017937 h 4738686"/>
              <a:gd name="connsiteX95" fmla="*/ 10043517 w 12193196"/>
              <a:gd name="connsiteY95" fmla="*/ 1018005 h 4738686"/>
              <a:gd name="connsiteX96" fmla="*/ 10066142 w 12193196"/>
              <a:gd name="connsiteY96" fmla="*/ 1040865 h 4738686"/>
              <a:gd name="connsiteX97" fmla="*/ 10066142 w 12193196"/>
              <a:gd name="connsiteY97" fmla="*/ 1139787 h 4738686"/>
              <a:gd name="connsiteX98" fmla="*/ 10104241 w 12193196"/>
              <a:gd name="connsiteY98" fmla="*/ 1139787 h 4738686"/>
              <a:gd name="connsiteX99" fmla="*/ 9914333 w 12193196"/>
              <a:gd name="connsiteY99" fmla="*/ 997212 h 4738686"/>
              <a:gd name="connsiteX100" fmla="*/ 9911199 w 12193196"/>
              <a:gd name="connsiteY100" fmla="*/ 997703 h 4738686"/>
              <a:gd name="connsiteX101" fmla="*/ 9850377 w 12193196"/>
              <a:gd name="connsiteY101" fmla="*/ 1007280 h 4738686"/>
              <a:gd name="connsiteX102" fmla="*/ 9850377 w 12193196"/>
              <a:gd name="connsiteY102" fmla="*/ 1017937 h 4738686"/>
              <a:gd name="connsiteX103" fmla="*/ 9853021 w 12193196"/>
              <a:gd name="connsiteY103" fmla="*/ 1018005 h 4738686"/>
              <a:gd name="connsiteX104" fmla="*/ 9875940 w 12193196"/>
              <a:gd name="connsiteY104" fmla="*/ 1040865 h 4738686"/>
              <a:gd name="connsiteX105" fmla="*/ 9875940 w 12193196"/>
              <a:gd name="connsiteY105" fmla="*/ 1198327 h 4738686"/>
              <a:gd name="connsiteX106" fmla="*/ 9914039 w 12193196"/>
              <a:gd name="connsiteY106" fmla="*/ 1198327 h 4738686"/>
              <a:gd name="connsiteX107" fmla="*/ 9914039 w 12193196"/>
              <a:gd name="connsiteY107" fmla="*/ 1126594 h 4738686"/>
              <a:gd name="connsiteX108" fmla="*/ 9953216 w 12193196"/>
              <a:gd name="connsiteY108" fmla="*/ 1142940 h 4738686"/>
              <a:gd name="connsiteX109" fmla="*/ 10014234 w 12193196"/>
              <a:gd name="connsiteY109" fmla="*/ 1068171 h 4738686"/>
              <a:gd name="connsiteX110" fmla="*/ 9954587 w 12193196"/>
              <a:gd name="connsiteY110" fmla="*/ 997654 h 4738686"/>
              <a:gd name="connsiteX111" fmla="*/ 9954587 w 12193196"/>
              <a:gd name="connsiteY111" fmla="*/ 997682 h 4738686"/>
              <a:gd name="connsiteX112" fmla="*/ 9914333 w 12193196"/>
              <a:gd name="connsiteY112" fmla="*/ 1017339 h 4738686"/>
              <a:gd name="connsiteX113" fmla="*/ 9585052 w 12193196"/>
              <a:gd name="connsiteY113" fmla="*/ 997212 h 4738686"/>
              <a:gd name="connsiteX114" fmla="*/ 9581918 w 12193196"/>
              <a:gd name="connsiteY114" fmla="*/ 997703 h 4738686"/>
              <a:gd name="connsiteX115" fmla="*/ 9520704 w 12193196"/>
              <a:gd name="connsiteY115" fmla="*/ 1007280 h 4738686"/>
              <a:gd name="connsiteX116" fmla="*/ 9520704 w 12193196"/>
              <a:gd name="connsiteY116" fmla="*/ 1017986 h 4738686"/>
              <a:gd name="connsiteX117" fmla="*/ 9523348 w 12193196"/>
              <a:gd name="connsiteY117" fmla="*/ 1017986 h 4738686"/>
              <a:gd name="connsiteX118" fmla="*/ 9546952 w 12193196"/>
              <a:gd name="connsiteY118" fmla="*/ 1040846 h 4738686"/>
              <a:gd name="connsiteX119" fmla="*/ 9546952 w 12193196"/>
              <a:gd name="connsiteY119" fmla="*/ 1139767 h 4738686"/>
              <a:gd name="connsiteX120" fmla="*/ 9585052 w 12193196"/>
              <a:gd name="connsiteY120" fmla="*/ 1139767 h 4738686"/>
              <a:gd name="connsiteX121" fmla="*/ 9585052 w 12193196"/>
              <a:gd name="connsiteY121" fmla="*/ 1066967 h 4738686"/>
              <a:gd name="connsiteX122" fmla="*/ 9622661 w 12193196"/>
              <a:gd name="connsiteY122" fmla="*/ 1022628 h 4738686"/>
              <a:gd name="connsiteX123" fmla="*/ 9641858 w 12193196"/>
              <a:gd name="connsiteY123" fmla="*/ 1062687 h 4738686"/>
              <a:gd name="connsiteX124" fmla="*/ 9641858 w 12193196"/>
              <a:gd name="connsiteY124" fmla="*/ 1139767 h 4738686"/>
              <a:gd name="connsiteX125" fmla="*/ 9680055 w 12193196"/>
              <a:gd name="connsiteY125" fmla="*/ 1139767 h 4738686"/>
              <a:gd name="connsiteX126" fmla="*/ 9680055 w 12193196"/>
              <a:gd name="connsiteY126" fmla="*/ 1040866 h 4738686"/>
              <a:gd name="connsiteX127" fmla="*/ 9637647 w 12193196"/>
              <a:gd name="connsiteY127" fmla="*/ 997682 h 4738686"/>
              <a:gd name="connsiteX128" fmla="*/ 9585052 w 12193196"/>
              <a:gd name="connsiteY128" fmla="*/ 1028230 h 4738686"/>
              <a:gd name="connsiteX129" fmla="*/ 10204730 w 12193196"/>
              <a:gd name="connsiteY129" fmla="*/ 997212 h 4738686"/>
              <a:gd name="connsiteX130" fmla="*/ 10201596 w 12193196"/>
              <a:gd name="connsiteY130" fmla="*/ 997702 h 4738686"/>
              <a:gd name="connsiteX131" fmla="*/ 10140774 w 12193196"/>
              <a:gd name="connsiteY131" fmla="*/ 1007280 h 4738686"/>
              <a:gd name="connsiteX132" fmla="*/ 10140774 w 12193196"/>
              <a:gd name="connsiteY132" fmla="*/ 1017985 h 4738686"/>
              <a:gd name="connsiteX133" fmla="*/ 10143418 w 12193196"/>
              <a:gd name="connsiteY133" fmla="*/ 1017985 h 4738686"/>
              <a:gd name="connsiteX134" fmla="*/ 10166631 w 12193196"/>
              <a:gd name="connsiteY134" fmla="*/ 1040845 h 4738686"/>
              <a:gd name="connsiteX135" fmla="*/ 10166631 w 12193196"/>
              <a:gd name="connsiteY135" fmla="*/ 1139766 h 4738686"/>
              <a:gd name="connsiteX136" fmla="*/ 10204730 w 12193196"/>
              <a:gd name="connsiteY136" fmla="*/ 1139766 h 4738686"/>
              <a:gd name="connsiteX137" fmla="*/ 10204730 w 12193196"/>
              <a:gd name="connsiteY137" fmla="*/ 1068455 h 4738686"/>
              <a:gd name="connsiteX138" fmla="*/ 10237749 w 12193196"/>
              <a:gd name="connsiteY138" fmla="*/ 1028396 h 4738686"/>
              <a:gd name="connsiteX139" fmla="*/ 10244592 w 12193196"/>
              <a:gd name="connsiteY139" fmla="*/ 1028377 h 4738686"/>
              <a:gd name="connsiteX140" fmla="*/ 10257815 w 12193196"/>
              <a:gd name="connsiteY140" fmla="*/ 1030933 h 4738686"/>
              <a:gd name="connsiteX141" fmla="*/ 10263985 w 12193196"/>
              <a:gd name="connsiteY141" fmla="*/ 1032667 h 4738686"/>
              <a:gd name="connsiteX142" fmla="*/ 10263985 w 12193196"/>
              <a:gd name="connsiteY142" fmla="*/ 1029112 h 4738686"/>
              <a:gd name="connsiteX143" fmla="*/ 10263985 w 12193196"/>
              <a:gd name="connsiteY143" fmla="*/ 999484 h 4738686"/>
              <a:gd name="connsiteX144" fmla="*/ 10261732 w 12193196"/>
              <a:gd name="connsiteY144" fmla="*/ 999141 h 4738686"/>
              <a:gd name="connsiteX145" fmla="*/ 10243613 w 12193196"/>
              <a:gd name="connsiteY145" fmla="*/ 997682 h 4738686"/>
              <a:gd name="connsiteX146" fmla="*/ 10204730 w 12193196"/>
              <a:gd name="connsiteY146" fmla="*/ 1025889 h 4738686"/>
              <a:gd name="connsiteX147" fmla="*/ 10548800 w 12193196"/>
              <a:gd name="connsiteY147" fmla="*/ 957712 h 4738686"/>
              <a:gd name="connsiteX148" fmla="*/ 10548800 w 12193196"/>
              <a:gd name="connsiteY148" fmla="*/ 1000943 h 4738686"/>
              <a:gd name="connsiteX149" fmla="*/ 10523237 w 12193196"/>
              <a:gd name="connsiteY149" fmla="*/ 1000943 h 4738686"/>
              <a:gd name="connsiteX150" fmla="*/ 10523237 w 12193196"/>
              <a:gd name="connsiteY150" fmla="*/ 1017828 h 4738686"/>
              <a:gd name="connsiteX151" fmla="*/ 10548800 w 12193196"/>
              <a:gd name="connsiteY151" fmla="*/ 1017828 h 4738686"/>
              <a:gd name="connsiteX152" fmla="*/ 10548800 w 12193196"/>
              <a:gd name="connsiteY152" fmla="*/ 1103283 h 4738686"/>
              <a:gd name="connsiteX153" fmla="*/ 10601199 w 12193196"/>
              <a:gd name="connsiteY153" fmla="*/ 1143028 h 4738686"/>
              <a:gd name="connsiteX154" fmla="*/ 10623627 w 12193196"/>
              <a:gd name="connsiteY154" fmla="*/ 1140697 h 4738686"/>
              <a:gd name="connsiteX155" fmla="*/ 10625880 w 12193196"/>
              <a:gd name="connsiteY155" fmla="*/ 1140364 h 4738686"/>
              <a:gd name="connsiteX156" fmla="*/ 10625880 w 12193196"/>
              <a:gd name="connsiteY156" fmla="*/ 1123146 h 4738686"/>
              <a:gd name="connsiteX157" fmla="*/ 10622648 w 12193196"/>
              <a:gd name="connsiteY157" fmla="*/ 1123880 h 4738686"/>
              <a:gd name="connsiteX158" fmla="*/ 10611091 w 12193196"/>
              <a:gd name="connsiteY158" fmla="*/ 1124977 h 4738686"/>
              <a:gd name="connsiteX159" fmla="*/ 10586899 w 12193196"/>
              <a:gd name="connsiteY159" fmla="*/ 1098690 h 4738686"/>
              <a:gd name="connsiteX160" fmla="*/ 10586899 w 12193196"/>
              <a:gd name="connsiteY160" fmla="*/ 1017809 h 4738686"/>
              <a:gd name="connsiteX161" fmla="*/ 10629798 w 12193196"/>
              <a:gd name="connsiteY161" fmla="*/ 1017809 h 4738686"/>
              <a:gd name="connsiteX162" fmla="*/ 10629798 w 12193196"/>
              <a:gd name="connsiteY162" fmla="*/ 1000923 h 4738686"/>
              <a:gd name="connsiteX163" fmla="*/ 10586899 w 12193196"/>
              <a:gd name="connsiteY163" fmla="*/ 1000923 h 4738686"/>
              <a:gd name="connsiteX164" fmla="*/ 10586899 w 12193196"/>
              <a:gd name="connsiteY164" fmla="*/ 957712 h 4738686"/>
              <a:gd name="connsiteX165" fmla="*/ 11683359 w 12193196"/>
              <a:gd name="connsiteY165" fmla="*/ 957623 h 4738686"/>
              <a:gd name="connsiteX166" fmla="*/ 11683359 w 12193196"/>
              <a:gd name="connsiteY166" fmla="*/ 1000923 h 4738686"/>
              <a:gd name="connsiteX167" fmla="*/ 11657796 w 12193196"/>
              <a:gd name="connsiteY167" fmla="*/ 1000923 h 4738686"/>
              <a:gd name="connsiteX168" fmla="*/ 11657796 w 12193196"/>
              <a:gd name="connsiteY168" fmla="*/ 1017808 h 4738686"/>
              <a:gd name="connsiteX169" fmla="*/ 11683359 w 12193196"/>
              <a:gd name="connsiteY169" fmla="*/ 1017808 h 4738686"/>
              <a:gd name="connsiteX170" fmla="*/ 11683359 w 12193196"/>
              <a:gd name="connsiteY170" fmla="*/ 1103263 h 4738686"/>
              <a:gd name="connsiteX171" fmla="*/ 11735758 w 12193196"/>
              <a:gd name="connsiteY171" fmla="*/ 1143007 h 4738686"/>
              <a:gd name="connsiteX172" fmla="*/ 11758089 w 12193196"/>
              <a:gd name="connsiteY172" fmla="*/ 1140676 h 4738686"/>
              <a:gd name="connsiteX173" fmla="*/ 11760439 w 12193196"/>
              <a:gd name="connsiteY173" fmla="*/ 1140343 h 4738686"/>
              <a:gd name="connsiteX174" fmla="*/ 11760439 w 12193196"/>
              <a:gd name="connsiteY174" fmla="*/ 1123145 h 4738686"/>
              <a:gd name="connsiteX175" fmla="*/ 11757109 w 12193196"/>
              <a:gd name="connsiteY175" fmla="*/ 1123879 h 4738686"/>
              <a:gd name="connsiteX176" fmla="*/ 11745650 w 12193196"/>
              <a:gd name="connsiteY176" fmla="*/ 1124976 h 4738686"/>
              <a:gd name="connsiteX177" fmla="*/ 11721458 w 12193196"/>
              <a:gd name="connsiteY177" fmla="*/ 1098689 h 4738686"/>
              <a:gd name="connsiteX178" fmla="*/ 11721458 w 12193196"/>
              <a:gd name="connsiteY178" fmla="*/ 1017808 h 4738686"/>
              <a:gd name="connsiteX179" fmla="*/ 11764357 w 12193196"/>
              <a:gd name="connsiteY179" fmla="*/ 1017808 h 4738686"/>
              <a:gd name="connsiteX180" fmla="*/ 11764357 w 12193196"/>
              <a:gd name="connsiteY180" fmla="*/ 1000923 h 4738686"/>
              <a:gd name="connsiteX181" fmla="*/ 11721458 w 12193196"/>
              <a:gd name="connsiteY181" fmla="*/ 1000923 h 4738686"/>
              <a:gd name="connsiteX182" fmla="*/ 11721458 w 12193196"/>
              <a:gd name="connsiteY182" fmla="*/ 957623 h 4738686"/>
              <a:gd name="connsiteX183" fmla="*/ 11073573 w 12193196"/>
              <a:gd name="connsiteY183" fmla="*/ 941062 h 4738686"/>
              <a:gd name="connsiteX184" fmla="*/ 11073573 w 12193196"/>
              <a:gd name="connsiteY184" fmla="*/ 952413 h 4738686"/>
              <a:gd name="connsiteX185" fmla="*/ 11081212 w 12193196"/>
              <a:gd name="connsiteY185" fmla="*/ 953686 h 4738686"/>
              <a:gd name="connsiteX186" fmla="*/ 11106384 w 12193196"/>
              <a:gd name="connsiteY186" fmla="*/ 980541 h 4738686"/>
              <a:gd name="connsiteX187" fmla="*/ 11106384 w 12193196"/>
              <a:gd name="connsiteY187" fmla="*/ 1139765 h 4738686"/>
              <a:gd name="connsiteX188" fmla="*/ 11147323 w 12193196"/>
              <a:gd name="connsiteY188" fmla="*/ 1139765 h 4738686"/>
              <a:gd name="connsiteX189" fmla="*/ 11147323 w 12193196"/>
              <a:gd name="connsiteY189" fmla="*/ 981708 h 4738686"/>
              <a:gd name="connsiteX190" fmla="*/ 11251827 w 12193196"/>
              <a:gd name="connsiteY190" fmla="*/ 1139765 h 4738686"/>
              <a:gd name="connsiteX191" fmla="*/ 11302267 w 12193196"/>
              <a:gd name="connsiteY191" fmla="*/ 1139765 h 4738686"/>
              <a:gd name="connsiteX192" fmla="*/ 11302267 w 12193196"/>
              <a:gd name="connsiteY192" fmla="*/ 941062 h 4738686"/>
              <a:gd name="connsiteX193" fmla="*/ 11299623 w 12193196"/>
              <a:gd name="connsiteY193" fmla="*/ 941062 h 4738686"/>
              <a:gd name="connsiteX194" fmla="*/ 11261328 w 12193196"/>
              <a:gd name="connsiteY194" fmla="*/ 941062 h 4738686"/>
              <a:gd name="connsiteX195" fmla="*/ 11261328 w 12193196"/>
              <a:gd name="connsiteY195" fmla="*/ 1091990 h 4738686"/>
              <a:gd name="connsiteX196" fmla="*/ 11161721 w 12193196"/>
              <a:gd name="connsiteY196" fmla="*/ 941062 h 4738686"/>
              <a:gd name="connsiteX197" fmla="*/ 10085829 w 12193196"/>
              <a:gd name="connsiteY197" fmla="*/ 939103 h 4738686"/>
              <a:gd name="connsiteX198" fmla="*/ 10062691 w 12193196"/>
              <a:gd name="connsiteY198" fmla="*/ 957273 h 4738686"/>
              <a:gd name="connsiteX199" fmla="*/ 10080861 w 12193196"/>
              <a:gd name="connsiteY199" fmla="*/ 980411 h 4738686"/>
              <a:gd name="connsiteX200" fmla="*/ 10085535 w 12193196"/>
              <a:gd name="connsiteY200" fmla="*/ 980444 h 4738686"/>
              <a:gd name="connsiteX201" fmla="*/ 10085535 w 12193196"/>
              <a:gd name="connsiteY201" fmla="*/ 980415 h 4738686"/>
              <a:gd name="connsiteX202" fmla="*/ 10109531 w 12193196"/>
              <a:gd name="connsiteY202" fmla="*/ 959583 h 4738686"/>
              <a:gd name="connsiteX203" fmla="*/ 10085829 w 12193196"/>
              <a:gd name="connsiteY203" fmla="*/ 939103 h 4738686"/>
              <a:gd name="connsiteX204" fmla="*/ 9480646 w 12193196"/>
              <a:gd name="connsiteY204" fmla="*/ 937655 h 4738686"/>
              <a:gd name="connsiteX205" fmla="*/ 9477708 w 12193196"/>
              <a:gd name="connsiteY205" fmla="*/ 937919 h 4738686"/>
              <a:gd name="connsiteX206" fmla="*/ 9402293 w 12193196"/>
              <a:gd name="connsiteY206" fmla="*/ 944775 h 4738686"/>
              <a:gd name="connsiteX207" fmla="*/ 9402293 w 12193196"/>
              <a:gd name="connsiteY207" fmla="*/ 955931 h 4738686"/>
              <a:gd name="connsiteX208" fmla="*/ 9404644 w 12193196"/>
              <a:gd name="connsiteY208" fmla="*/ 956225 h 4738686"/>
              <a:gd name="connsiteX209" fmla="*/ 9435006 w 12193196"/>
              <a:gd name="connsiteY209" fmla="*/ 981690 h 4738686"/>
              <a:gd name="connsiteX210" fmla="*/ 9435006 w 12193196"/>
              <a:gd name="connsiteY210" fmla="*/ 1139748 h 4738686"/>
              <a:gd name="connsiteX211" fmla="*/ 9480646 w 12193196"/>
              <a:gd name="connsiteY211" fmla="*/ 1139748 h 4738686"/>
              <a:gd name="connsiteX212" fmla="*/ 10710404 w 12193196"/>
              <a:gd name="connsiteY212" fmla="*/ 932962 h 4738686"/>
              <a:gd name="connsiteX213" fmla="*/ 10707368 w 12193196"/>
              <a:gd name="connsiteY213" fmla="*/ 933364 h 4738686"/>
              <a:gd name="connsiteX214" fmla="*/ 10646644 w 12193196"/>
              <a:gd name="connsiteY214" fmla="*/ 940827 h 4738686"/>
              <a:gd name="connsiteX215" fmla="*/ 10646644 w 12193196"/>
              <a:gd name="connsiteY215" fmla="*/ 951600 h 4738686"/>
              <a:gd name="connsiteX216" fmla="*/ 10649288 w 12193196"/>
              <a:gd name="connsiteY216" fmla="*/ 951688 h 4738686"/>
              <a:gd name="connsiteX217" fmla="*/ 10672207 w 12193196"/>
              <a:gd name="connsiteY217" fmla="*/ 975146 h 4738686"/>
              <a:gd name="connsiteX218" fmla="*/ 10672207 w 12193196"/>
              <a:gd name="connsiteY218" fmla="*/ 1139766 h 4738686"/>
              <a:gd name="connsiteX219" fmla="*/ 10710404 w 12193196"/>
              <a:gd name="connsiteY219" fmla="*/ 1139766 h 4738686"/>
              <a:gd name="connsiteX220" fmla="*/ 10710404 w 12193196"/>
              <a:gd name="connsiteY220" fmla="*/ 1068719 h 4738686"/>
              <a:gd name="connsiteX221" fmla="*/ 10746251 w 12193196"/>
              <a:gd name="connsiteY221" fmla="*/ 1022628 h 4738686"/>
              <a:gd name="connsiteX222" fmla="*/ 10767504 w 12193196"/>
              <a:gd name="connsiteY222" fmla="*/ 1052657 h 4738686"/>
              <a:gd name="connsiteX223" fmla="*/ 10767504 w 12193196"/>
              <a:gd name="connsiteY223" fmla="*/ 1139766 h 4738686"/>
              <a:gd name="connsiteX224" fmla="*/ 10805604 w 12193196"/>
              <a:gd name="connsiteY224" fmla="*/ 1139766 h 4738686"/>
              <a:gd name="connsiteX225" fmla="*/ 10805604 w 12193196"/>
              <a:gd name="connsiteY225" fmla="*/ 1048347 h 4738686"/>
              <a:gd name="connsiteX226" fmla="*/ 10762705 w 12193196"/>
              <a:gd name="connsiteY226" fmla="*/ 997682 h 4738686"/>
              <a:gd name="connsiteX227" fmla="*/ 10710404 w 12193196"/>
              <a:gd name="connsiteY227" fmla="*/ 1028093 h 4738686"/>
              <a:gd name="connsiteX228" fmla="*/ 11691292 w 12193196"/>
              <a:gd name="connsiteY228" fmla="*/ 901218 h 4738686"/>
              <a:gd name="connsiteX229" fmla="*/ 11642419 w 12193196"/>
              <a:gd name="connsiteY229" fmla="*/ 957691 h 4738686"/>
              <a:gd name="connsiteX230" fmla="*/ 11682771 w 12193196"/>
              <a:gd name="connsiteY230" fmla="*/ 957691 h 4738686"/>
              <a:gd name="connsiteX231" fmla="*/ 11731644 w 12193196"/>
              <a:gd name="connsiteY231" fmla="*/ 901218 h 4738686"/>
              <a:gd name="connsiteX232" fmla="*/ 10547331 w 12193196"/>
              <a:gd name="connsiteY232" fmla="*/ 583241 h 4738686"/>
              <a:gd name="connsiteX233" fmla="*/ 10606292 w 12193196"/>
              <a:gd name="connsiteY233" fmla="*/ 728608 h 4738686"/>
              <a:gd name="connsiteX234" fmla="*/ 10488370 w 12193196"/>
              <a:gd name="connsiteY234" fmla="*/ 728608 h 4738686"/>
              <a:gd name="connsiteX235" fmla="*/ 11138508 w 12193196"/>
              <a:gd name="connsiteY235" fmla="*/ 528864 h 4738686"/>
              <a:gd name="connsiteX236" fmla="*/ 11138508 w 12193196"/>
              <a:gd name="connsiteY236" fmla="*/ 848508 h 4738686"/>
              <a:gd name="connsiteX237" fmla="*/ 11223130 w 12193196"/>
              <a:gd name="connsiteY237" fmla="*/ 848508 h 4738686"/>
              <a:gd name="connsiteX238" fmla="*/ 11223130 w 12193196"/>
              <a:gd name="connsiteY238" fmla="*/ 707844 h 4738686"/>
              <a:gd name="connsiteX239" fmla="*/ 11394136 w 12193196"/>
              <a:gd name="connsiteY239" fmla="*/ 707844 h 4738686"/>
              <a:gd name="connsiteX240" fmla="*/ 11394136 w 12193196"/>
              <a:gd name="connsiteY240" fmla="*/ 848508 h 4738686"/>
              <a:gd name="connsiteX241" fmla="*/ 11478856 w 12193196"/>
              <a:gd name="connsiteY241" fmla="*/ 848508 h 4738686"/>
              <a:gd name="connsiteX242" fmla="*/ 11478856 w 12193196"/>
              <a:gd name="connsiteY242" fmla="*/ 528864 h 4738686"/>
              <a:gd name="connsiteX243" fmla="*/ 11394136 w 12193196"/>
              <a:gd name="connsiteY243" fmla="*/ 528864 h 4738686"/>
              <a:gd name="connsiteX244" fmla="*/ 11394136 w 12193196"/>
              <a:gd name="connsiteY244" fmla="*/ 656678 h 4738686"/>
              <a:gd name="connsiteX245" fmla="*/ 11223130 w 12193196"/>
              <a:gd name="connsiteY245" fmla="*/ 656678 h 4738686"/>
              <a:gd name="connsiteX246" fmla="*/ 11223130 w 12193196"/>
              <a:gd name="connsiteY246" fmla="*/ 528864 h 4738686"/>
              <a:gd name="connsiteX247" fmla="*/ 10075937 w 12193196"/>
              <a:gd name="connsiteY247" fmla="*/ 528864 h 4738686"/>
              <a:gd name="connsiteX248" fmla="*/ 10075937 w 12193196"/>
              <a:gd name="connsiteY248" fmla="*/ 583241 h 4738686"/>
              <a:gd name="connsiteX249" fmla="*/ 10205416 w 12193196"/>
              <a:gd name="connsiteY249" fmla="*/ 583241 h 4738686"/>
              <a:gd name="connsiteX250" fmla="*/ 10205416 w 12193196"/>
              <a:gd name="connsiteY250" fmla="*/ 848508 h 4738686"/>
              <a:gd name="connsiteX251" fmla="*/ 10290038 w 12193196"/>
              <a:gd name="connsiteY251" fmla="*/ 848508 h 4738686"/>
              <a:gd name="connsiteX252" fmla="*/ 10290038 w 12193196"/>
              <a:gd name="connsiteY252" fmla="*/ 583241 h 4738686"/>
              <a:gd name="connsiteX253" fmla="*/ 10419517 w 12193196"/>
              <a:gd name="connsiteY253" fmla="*/ 583241 h 4738686"/>
              <a:gd name="connsiteX254" fmla="*/ 10419517 w 12193196"/>
              <a:gd name="connsiteY254" fmla="*/ 528864 h 4738686"/>
              <a:gd name="connsiteX255" fmla="*/ 10075937 w 12193196"/>
              <a:gd name="connsiteY255" fmla="*/ 528864 h 4738686"/>
              <a:gd name="connsiteX256" fmla="*/ 10495421 w 12193196"/>
              <a:gd name="connsiteY256" fmla="*/ 528864 h 4738686"/>
              <a:gd name="connsiteX257" fmla="*/ 10346060 w 12193196"/>
              <a:gd name="connsiteY257" fmla="*/ 848508 h 4738686"/>
              <a:gd name="connsiteX258" fmla="*/ 10440280 w 12193196"/>
              <a:gd name="connsiteY258" fmla="*/ 848508 h 4738686"/>
              <a:gd name="connsiteX259" fmla="*/ 10467998 w 12193196"/>
              <a:gd name="connsiteY259" fmla="*/ 779773 h 4738686"/>
              <a:gd name="connsiteX260" fmla="*/ 10626663 w 12193196"/>
              <a:gd name="connsiteY260" fmla="*/ 779773 h 4738686"/>
              <a:gd name="connsiteX261" fmla="*/ 10654381 w 12193196"/>
              <a:gd name="connsiteY261" fmla="*/ 848508 h 4738686"/>
              <a:gd name="connsiteX262" fmla="*/ 10748699 w 12193196"/>
              <a:gd name="connsiteY262" fmla="*/ 848508 h 4738686"/>
              <a:gd name="connsiteX263" fmla="*/ 10599240 w 12193196"/>
              <a:gd name="connsiteY263" fmla="*/ 528864 h 4738686"/>
              <a:gd name="connsiteX264" fmla="*/ 10495421 w 12193196"/>
              <a:gd name="connsiteY264" fmla="*/ 528864 h 4738686"/>
              <a:gd name="connsiteX265" fmla="*/ 11545848 w 12193196"/>
              <a:gd name="connsiteY265" fmla="*/ 528864 h 4738686"/>
              <a:gd name="connsiteX266" fmla="*/ 11545848 w 12193196"/>
              <a:gd name="connsiteY266" fmla="*/ 848508 h 4738686"/>
              <a:gd name="connsiteX267" fmla="*/ 11630666 w 12193196"/>
              <a:gd name="connsiteY267" fmla="*/ 848508 h 4738686"/>
              <a:gd name="connsiteX268" fmla="*/ 11630666 w 12193196"/>
              <a:gd name="connsiteY268" fmla="*/ 528864 h 4738686"/>
              <a:gd name="connsiteX269" fmla="*/ 9553515 w 12193196"/>
              <a:gd name="connsiteY269" fmla="*/ 528864 h 4738686"/>
              <a:gd name="connsiteX270" fmla="*/ 9553515 w 12193196"/>
              <a:gd name="connsiteY270" fmla="*/ 848508 h 4738686"/>
              <a:gd name="connsiteX271" fmla="*/ 9638235 w 12193196"/>
              <a:gd name="connsiteY271" fmla="*/ 848508 h 4738686"/>
              <a:gd name="connsiteX272" fmla="*/ 9638235 w 12193196"/>
              <a:gd name="connsiteY272" fmla="*/ 707844 h 4738686"/>
              <a:gd name="connsiteX273" fmla="*/ 9809143 w 12193196"/>
              <a:gd name="connsiteY273" fmla="*/ 707844 h 4738686"/>
              <a:gd name="connsiteX274" fmla="*/ 9809143 w 12193196"/>
              <a:gd name="connsiteY274" fmla="*/ 848508 h 4738686"/>
              <a:gd name="connsiteX275" fmla="*/ 9893863 w 12193196"/>
              <a:gd name="connsiteY275" fmla="*/ 848508 h 4738686"/>
              <a:gd name="connsiteX276" fmla="*/ 9893863 w 12193196"/>
              <a:gd name="connsiteY276" fmla="*/ 528864 h 4738686"/>
              <a:gd name="connsiteX277" fmla="*/ 9809143 w 12193196"/>
              <a:gd name="connsiteY277" fmla="*/ 528864 h 4738686"/>
              <a:gd name="connsiteX278" fmla="*/ 9809143 w 12193196"/>
              <a:gd name="connsiteY278" fmla="*/ 656678 h 4738686"/>
              <a:gd name="connsiteX279" fmla="*/ 9638235 w 12193196"/>
              <a:gd name="connsiteY279" fmla="*/ 656678 h 4738686"/>
              <a:gd name="connsiteX280" fmla="*/ 9638235 w 12193196"/>
              <a:gd name="connsiteY280" fmla="*/ 528864 h 4738686"/>
              <a:gd name="connsiteX281" fmla="*/ 9960953 w 12193196"/>
              <a:gd name="connsiteY281" fmla="*/ 528864 h 4738686"/>
              <a:gd name="connsiteX282" fmla="*/ 9960953 w 12193196"/>
              <a:gd name="connsiteY282" fmla="*/ 848508 h 4738686"/>
              <a:gd name="connsiteX283" fmla="*/ 10045673 w 12193196"/>
              <a:gd name="connsiteY283" fmla="*/ 848508 h 4738686"/>
              <a:gd name="connsiteX284" fmla="*/ 10045673 w 12193196"/>
              <a:gd name="connsiteY284" fmla="*/ 528864 h 4738686"/>
              <a:gd name="connsiteX285" fmla="*/ 10929795 w 12193196"/>
              <a:gd name="connsiteY285" fmla="*/ 520972 h 4738686"/>
              <a:gd name="connsiteX286" fmla="*/ 10828914 w 12193196"/>
              <a:gd name="connsiteY286" fmla="*/ 537904 h 4738686"/>
              <a:gd name="connsiteX287" fmla="*/ 10756241 w 12193196"/>
              <a:gd name="connsiteY287" fmla="*/ 598756 h 4738686"/>
              <a:gd name="connsiteX288" fmla="*/ 10734302 w 12193196"/>
              <a:gd name="connsiteY288" fmla="*/ 691800 h 4738686"/>
              <a:gd name="connsiteX289" fmla="*/ 10745663 w 12193196"/>
              <a:gd name="connsiteY289" fmla="*/ 759871 h 4738686"/>
              <a:gd name="connsiteX290" fmla="*/ 10745663 w 12193196"/>
              <a:gd name="connsiteY290" fmla="*/ 759880 h 4738686"/>
              <a:gd name="connsiteX291" fmla="*/ 10836847 w 12193196"/>
              <a:gd name="connsiteY291" fmla="*/ 843130 h 4738686"/>
              <a:gd name="connsiteX292" fmla="*/ 10922840 w 12193196"/>
              <a:gd name="connsiteY292" fmla="*/ 856372 h 4738686"/>
              <a:gd name="connsiteX293" fmla="*/ 11031654 w 12193196"/>
              <a:gd name="connsiteY293" fmla="*/ 834140 h 4738686"/>
              <a:gd name="connsiteX294" fmla="*/ 11090810 w 12193196"/>
              <a:gd name="connsiteY294" fmla="*/ 763621 h 4738686"/>
              <a:gd name="connsiteX295" fmla="*/ 11095120 w 12193196"/>
              <a:gd name="connsiteY295" fmla="*/ 733318 h 4738686"/>
              <a:gd name="connsiteX296" fmla="*/ 11005895 w 12193196"/>
              <a:gd name="connsiteY296" fmla="*/ 733318 h 4738686"/>
              <a:gd name="connsiteX297" fmla="*/ 10998941 w 12193196"/>
              <a:gd name="connsiteY297" fmla="*/ 767598 h 4738686"/>
              <a:gd name="connsiteX298" fmla="*/ 10961919 w 12193196"/>
              <a:gd name="connsiteY298" fmla="*/ 800790 h 4738686"/>
              <a:gd name="connsiteX299" fmla="*/ 10922840 w 12193196"/>
              <a:gd name="connsiteY299" fmla="*/ 806873 h 4738686"/>
              <a:gd name="connsiteX300" fmla="*/ 10877395 w 12193196"/>
              <a:gd name="connsiteY300" fmla="*/ 798460 h 4738686"/>
              <a:gd name="connsiteX301" fmla="*/ 10831167 w 12193196"/>
              <a:gd name="connsiteY301" fmla="*/ 748009 h 4738686"/>
              <a:gd name="connsiteX302" fmla="*/ 10823037 w 12193196"/>
              <a:gd name="connsiteY302" fmla="*/ 691820 h 4738686"/>
              <a:gd name="connsiteX303" fmla="*/ 10834595 w 12193196"/>
              <a:gd name="connsiteY303" fmla="*/ 624553 h 4738686"/>
              <a:gd name="connsiteX304" fmla="*/ 10880921 w 12193196"/>
              <a:gd name="connsiteY304" fmla="*/ 577649 h 4738686"/>
              <a:gd name="connsiteX305" fmla="*/ 10922840 w 12193196"/>
              <a:gd name="connsiteY305" fmla="*/ 570431 h 4738686"/>
              <a:gd name="connsiteX306" fmla="*/ 10959862 w 12193196"/>
              <a:gd name="connsiteY306" fmla="*/ 575964 h 4738686"/>
              <a:gd name="connsiteX307" fmla="*/ 10999627 w 12193196"/>
              <a:gd name="connsiteY307" fmla="*/ 612928 h 4738686"/>
              <a:gd name="connsiteX308" fmla="*/ 11004230 w 12193196"/>
              <a:gd name="connsiteY308" fmla="*/ 637521 h 4738686"/>
              <a:gd name="connsiteX309" fmla="*/ 11093063 w 12193196"/>
              <a:gd name="connsiteY309" fmla="*/ 637521 h 4738686"/>
              <a:gd name="connsiteX310" fmla="*/ 11090027 w 12193196"/>
              <a:gd name="connsiteY310" fmla="*/ 617276 h 4738686"/>
              <a:gd name="connsiteX311" fmla="*/ 11029597 w 12193196"/>
              <a:gd name="connsiteY311" fmla="*/ 543409 h 4738686"/>
              <a:gd name="connsiteX312" fmla="*/ 10929795 w 12193196"/>
              <a:gd name="connsiteY312" fmla="*/ 520972 h 4738686"/>
              <a:gd name="connsiteX313" fmla="*/ 0 w 12193196"/>
              <a:gd name="connsiteY313" fmla="*/ 0 h 4738686"/>
              <a:gd name="connsiteX314" fmla="*/ 12193196 w 12193196"/>
              <a:gd name="connsiteY314" fmla="*/ 0 h 4738686"/>
              <a:gd name="connsiteX315" fmla="*/ 12193196 w 12193196"/>
              <a:gd name="connsiteY315" fmla="*/ 4738686 h 4738686"/>
              <a:gd name="connsiteX316" fmla="*/ 0 w 12193196"/>
              <a:gd name="connsiteY316" fmla="*/ 4738686 h 4738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</a:cxnLst>
            <a:rect l="l" t="t" r="r" b="b"/>
            <a:pathLst>
              <a:path w="12193196" h="4738686">
                <a:moveTo>
                  <a:pt x="9943716" y="1018573"/>
                </a:moveTo>
                <a:lnTo>
                  <a:pt x="9943716" y="1018583"/>
                </a:lnTo>
                <a:cubicBezTo>
                  <a:pt x="9969768" y="1018583"/>
                  <a:pt x="9972804" y="1046888"/>
                  <a:pt x="9972804" y="1068171"/>
                </a:cubicBezTo>
                <a:cubicBezTo>
                  <a:pt x="9972804" y="1104410"/>
                  <a:pt x="9963402" y="1122040"/>
                  <a:pt x="9944107" y="1122040"/>
                </a:cubicBezTo>
                <a:cubicBezTo>
                  <a:pt x="9919230" y="1122040"/>
                  <a:pt x="9914039" y="1098847"/>
                  <a:pt x="9914039" y="1079406"/>
                </a:cubicBezTo>
                <a:lnTo>
                  <a:pt x="9914039" y="1067545"/>
                </a:lnTo>
                <a:cubicBezTo>
                  <a:pt x="9914039" y="1052854"/>
                  <a:pt x="9916977" y="1018573"/>
                  <a:pt x="9943716" y="1018573"/>
                </a:cubicBezTo>
                <a:close/>
                <a:moveTo>
                  <a:pt x="11408435" y="1012941"/>
                </a:moveTo>
                <a:cubicBezTo>
                  <a:pt x="11428807" y="1012941"/>
                  <a:pt x="11434096" y="1027633"/>
                  <a:pt x="11434684" y="1041128"/>
                </a:cubicBezTo>
                <a:lnTo>
                  <a:pt x="11379836" y="1041128"/>
                </a:lnTo>
                <a:cubicBezTo>
                  <a:pt x="11380159" y="1025534"/>
                  <a:pt x="11392843" y="1013033"/>
                  <a:pt x="11408435" y="1012941"/>
                </a:cubicBezTo>
                <a:close/>
                <a:moveTo>
                  <a:pt x="10350271" y="1012834"/>
                </a:moveTo>
                <a:cubicBezTo>
                  <a:pt x="10370741" y="1012834"/>
                  <a:pt x="10376030" y="1027584"/>
                  <a:pt x="10376618" y="1041021"/>
                </a:cubicBezTo>
                <a:lnTo>
                  <a:pt x="10321770" y="1041021"/>
                </a:lnTo>
                <a:cubicBezTo>
                  <a:pt x="10322093" y="1025467"/>
                  <a:pt x="10334714" y="1012983"/>
                  <a:pt x="10350271" y="1012834"/>
                </a:cubicBezTo>
                <a:close/>
                <a:moveTo>
                  <a:pt x="10912556" y="1012833"/>
                </a:moveTo>
                <a:cubicBezTo>
                  <a:pt x="10933026" y="1012833"/>
                  <a:pt x="10938217" y="1027584"/>
                  <a:pt x="10938805" y="1041021"/>
                </a:cubicBezTo>
                <a:lnTo>
                  <a:pt x="10883957" y="1041021"/>
                </a:lnTo>
                <a:cubicBezTo>
                  <a:pt x="10884290" y="1025434"/>
                  <a:pt x="10896964" y="1012941"/>
                  <a:pt x="10912556" y="1012833"/>
                </a:cubicBezTo>
                <a:close/>
                <a:moveTo>
                  <a:pt x="11605397" y="1000835"/>
                </a:moveTo>
                <a:lnTo>
                  <a:pt x="11568179" y="1043841"/>
                </a:lnTo>
                <a:lnTo>
                  <a:pt x="11535270" y="1000923"/>
                </a:lnTo>
                <a:lnTo>
                  <a:pt x="11476897" y="1000923"/>
                </a:lnTo>
                <a:lnTo>
                  <a:pt x="11476897" y="1011922"/>
                </a:lnTo>
                <a:lnTo>
                  <a:pt x="11479443" y="1012079"/>
                </a:lnTo>
                <a:cubicBezTo>
                  <a:pt x="11499326" y="1013430"/>
                  <a:pt x="11503831" y="1016976"/>
                  <a:pt x="11516074" y="1033136"/>
                </a:cubicBezTo>
                <a:lnTo>
                  <a:pt x="11539971" y="1064899"/>
                </a:lnTo>
                <a:lnTo>
                  <a:pt x="11500893" y="1110021"/>
                </a:lnTo>
                <a:lnTo>
                  <a:pt x="11541245" y="1110021"/>
                </a:lnTo>
                <a:lnTo>
                  <a:pt x="11558776" y="1089874"/>
                </a:lnTo>
                <a:lnTo>
                  <a:pt x="11596386" y="1139824"/>
                </a:lnTo>
                <a:lnTo>
                  <a:pt x="11641635" y="1139824"/>
                </a:lnTo>
                <a:lnTo>
                  <a:pt x="11569942" y="1046192"/>
                </a:lnTo>
                <a:lnTo>
                  <a:pt x="11606474" y="1046221"/>
                </a:lnTo>
                <a:lnTo>
                  <a:pt x="11645651" y="1000835"/>
                </a:lnTo>
                <a:close/>
                <a:moveTo>
                  <a:pt x="11409709" y="997750"/>
                </a:moveTo>
                <a:cubicBezTo>
                  <a:pt x="11362305" y="997750"/>
                  <a:pt x="11338211" y="1020600"/>
                  <a:pt x="11338211" y="1065684"/>
                </a:cubicBezTo>
                <a:cubicBezTo>
                  <a:pt x="11338211" y="1114066"/>
                  <a:pt x="11369259" y="1143008"/>
                  <a:pt x="11421168" y="1143008"/>
                </a:cubicBezTo>
                <a:cubicBezTo>
                  <a:pt x="11437024" y="1142934"/>
                  <a:pt x="11452764" y="1140308"/>
                  <a:pt x="11467788" y="1135231"/>
                </a:cubicBezTo>
                <a:lnTo>
                  <a:pt x="11470041" y="1134527"/>
                </a:lnTo>
                <a:lnTo>
                  <a:pt x="11470041" y="1116084"/>
                </a:lnTo>
                <a:lnTo>
                  <a:pt x="11466417" y="1117376"/>
                </a:lnTo>
                <a:cubicBezTo>
                  <a:pt x="11456779" y="1120531"/>
                  <a:pt x="11446691" y="1122122"/>
                  <a:pt x="11436545" y="1122088"/>
                </a:cubicBezTo>
                <a:cubicBezTo>
                  <a:pt x="11395801" y="1122088"/>
                  <a:pt x="11380620" y="1088181"/>
                  <a:pt x="11379738" y="1058034"/>
                </a:cubicBezTo>
                <a:lnTo>
                  <a:pt x="11472979" y="1058034"/>
                </a:lnTo>
                <a:lnTo>
                  <a:pt x="11472979" y="1055330"/>
                </a:lnTo>
                <a:cubicBezTo>
                  <a:pt x="11472979" y="1017133"/>
                  <a:pt x="11451726" y="997750"/>
                  <a:pt x="11409709" y="997750"/>
                </a:cubicBezTo>
                <a:close/>
                <a:moveTo>
                  <a:pt x="9781426" y="997723"/>
                </a:moveTo>
                <a:cubicBezTo>
                  <a:pt x="9745481" y="997723"/>
                  <a:pt x="9724032" y="1013119"/>
                  <a:pt x="9724032" y="1038926"/>
                </a:cubicBezTo>
                <a:cubicBezTo>
                  <a:pt x="9724032" y="1062100"/>
                  <a:pt x="9746265" y="1073031"/>
                  <a:pt x="9765951" y="1082648"/>
                </a:cubicBezTo>
                <a:cubicBezTo>
                  <a:pt x="9781230" y="1090161"/>
                  <a:pt x="9795725" y="1097203"/>
                  <a:pt x="9795725" y="1108378"/>
                </a:cubicBezTo>
                <a:cubicBezTo>
                  <a:pt x="9795725" y="1118877"/>
                  <a:pt x="9786421" y="1124901"/>
                  <a:pt x="9770261" y="1124901"/>
                </a:cubicBezTo>
                <a:cubicBezTo>
                  <a:pt x="9755255" y="1123971"/>
                  <a:pt x="9740791" y="1118948"/>
                  <a:pt x="9728439" y="1110376"/>
                </a:cubicBezTo>
                <a:lnTo>
                  <a:pt x="9724326" y="1107888"/>
                </a:lnTo>
                <a:lnTo>
                  <a:pt x="9724326" y="1137271"/>
                </a:lnTo>
                <a:lnTo>
                  <a:pt x="9727166" y="1137888"/>
                </a:lnTo>
                <a:cubicBezTo>
                  <a:pt x="9740855" y="1141241"/>
                  <a:pt x="9754894" y="1142947"/>
                  <a:pt x="9768987" y="1142971"/>
                </a:cubicBezTo>
                <a:cubicBezTo>
                  <a:pt x="9807576" y="1142971"/>
                  <a:pt x="9830593" y="1127134"/>
                  <a:pt x="9830593" y="1100631"/>
                </a:cubicBezTo>
                <a:cubicBezTo>
                  <a:pt x="9830593" y="1074372"/>
                  <a:pt x="9807381" y="1062982"/>
                  <a:pt x="9786911" y="1052913"/>
                </a:cubicBezTo>
                <a:lnTo>
                  <a:pt x="9786911" y="1052884"/>
                </a:lnTo>
                <a:cubicBezTo>
                  <a:pt x="9771828" y="1045527"/>
                  <a:pt x="9758899" y="1039172"/>
                  <a:pt x="9758899" y="1028779"/>
                </a:cubicBezTo>
                <a:cubicBezTo>
                  <a:pt x="9758899" y="1017026"/>
                  <a:pt x="9773003" y="1015714"/>
                  <a:pt x="9779075" y="1015714"/>
                </a:cubicBezTo>
                <a:cubicBezTo>
                  <a:pt x="9791882" y="1016511"/>
                  <a:pt x="9804235" y="1020760"/>
                  <a:pt x="9814824" y="1028006"/>
                </a:cubicBezTo>
                <a:lnTo>
                  <a:pt x="9820799" y="1031649"/>
                </a:lnTo>
                <a:lnTo>
                  <a:pt x="9820799" y="1003079"/>
                </a:lnTo>
                <a:lnTo>
                  <a:pt x="9816097" y="1002101"/>
                </a:lnTo>
                <a:cubicBezTo>
                  <a:pt x="9804739" y="999359"/>
                  <a:pt x="9793109" y="997890"/>
                  <a:pt x="9781426" y="997723"/>
                </a:cubicBezTo>
                <a:close/>
                <a:moveTo>
                  <a:pt x="10913830" y="997682"/>
                </a:moveTo>
                <a:cubicBezTo>
                  <a:pt x="10866426" y="997682"/>
                  <a:pt x="10842430" y="1020493"/>
                  <a:pt x="10842430" y="1065566"/>
                </a:cubicBezTo>
                <a:cubicBezTo>
                  <a:pt x="10842430" y="1114017"/>
                  <a:pt x="10873380" y="1142940"/>
                  <a:pt x="10925289" y="1142940"/>
                </a:cubicBezTo>
                <a:cubicBezTo>
                  <a:pt x="10941146" y="1142830"/>
                  <a:pt x="10956885" y="1140185"/>
                  <a:pt x="10971909" y="1135104"/>
                </a:cubicBezTo>
                <a:lnTo>
                  <a:pt x="10974162" y="1134399"/>
                </a:lnTo>
                <a:lnTo>
                  <a:pt x="10974162" y="1115976"/>
                </a:lnTo>
                <a:lnTo>
                  <a:pt x="10970538" y="1117289"/>
                </a:lnTo>
                <a:cubicBezTo>
                  <a:pt x="10960910" y="1120484"/>
                  <a:pt x="10950813" y="1122075"/>
                  <a:pt x="10940666" y="1122000"/>
                </a:cubicBezTo>
                <a:cubicBezTo>
                  <a:pt x="10899922" y="1122000"/>
                  <a:pt x="10884741" y="1088122"/>
                  <a:pt x="10883957" y="1057926"/>
                </a:cubicBezTo>
                <a:lnTo>
                  <a:pt x="10977100" y="1057926"/>
                </a:lnTo>
                <a:lnTo>
                  <a:pt x="10977100" y="1055242"/>
                </a:lnTo>
                <a:cubicBezTo>
                  <a:pt x="10977100" y="1017044"/>
                  <a:pt x="10955847" y="997682"/>
                  <a:pt x="10913830" y="997682"/>
                </a:cubicBezTo>
                <a:close/>
                <a:moveTo>
                  <a:pt x="10351643" y="997682"/>
                </a:moveTo>
                <a:cubicBezTo>
                  <a:pt x="10304239" y="997682"/>
                  <a:pt x="10280145" y="1020493"/>
                  <a:pt x="10280145" y="1065566"/>
                </a:cubicBezTo>
                <a:cubicBezTo>
                  <a:pt x="10280145" y="1114017"/>
                  <a:pt x="10311193" y="1142940"/>
                  <a:pt x="10363102" y="1142940"/>
                </a:cubicBezTo>
                <a:cubicBezTo>
                  <a:pt x="10378961" y="1142830"/>
                  <a:pt x="10394698" y="1140185"/>
                  <a:pt x="10409722" y="1135104"/>
                </a:cubicBezTo>
                <a:lnTo>
                  <a:pt x="10411975" y="1134399"/>
                </a:lnTo>
                <a:lnTo>
                  <a:pt x="10411975" y="1115976"/>
                </a:lnTo>
                <a:lnTo>
                  <a:pt x="10408351" y="1117289"/>
                </a:lnTo>
                <a:cubicBezTo>
                  <a:pt x="10398713" y="1120466"/>
                  <a:pt x="10388625" y="1122057"/>
                  <a:pt x="10378479" y="1122000"/>
                </a:cubicBezTo>
                <a:cubicBezTo>
                  <a:pt x="10337735" y="1122000"/>
                  <a:pt x="10322554" y="1088122"/>
                  <a:pt x="10321672" y="1057926"/>
                </a:cubicBezTo>
                <a:lnTo>
                  <a:pt x="10414913" y="1057926"/>
                </a:lnTo>
                <a:lnTo>
                  <a:pt x="10414913" y="1055242"/>
                </a:lnTo>
                <a:cubicBezTo>
                  <a:pt x="10414913" y="1017045"/>
                  <a:pt x="10393660" y="997682"/>
                  <a:pt x="10351643" y="997682"/>
                </a:cubicBezTo>
                <a:close/>
                <a:moveTo>
                  <a:pt x="10104241" y="997212"/>
                </a:moveTo>
                <a:lnTo>
                  <a:pt x="10101107" y="997702"/>
                </a:lnTo>
                <a:lnTo>
                  <a:pt x="10040873" y="1007280"/>
                </a:lnTo>
                <a:lnTo>
                  <a:pt x="10040873" y="1017937"/>
                </a:lnTo>
                <a:lnTo>
                  <a:pt x="10043517" y="1018005"/>
                </a:lnTo>
                <a:cubicBezTo>
                  <a:pt x="10062322" y="1018563"/>
                  <a:pt x="10066142" y="1022432"/>
                  <a:pt x="10066142" y="1040865"/>
                </a:cubicBezTo>
                <a:lnTo>
                  <a:pt x="10066142" y="1139787"/>
                </a:lnTo>
                <a:lnTo>
                  <a:pt x="10104241" y="1139787"/>
                </a:lnTo>
                <a:close/>
                <a:moveTo>
                  <a:pt x="9914333" y="997212"/>
                </a:moveTo>
                <a:lnTo>
                  <a:pt x="9911199" y="997703"/>
                </a:lnTo>
                <a:lnTo>
                  <a:pt x="9850377" y="1007280"/>
                </a:lnTo>
                <a:lnTo>
                  <a:pt x="9850377" y="1017937"/>
                </a:lnTo>
                <a:lnTo>
                  <a:pt x="9853021" y="1018005"/>
                </a:lnTo>
                <a:cubicBezTo>
                  <a:pt x="9872022" y="1018563"/>
                  <a:pt x="9875940" y="1022433"/>
                  <a:pt x="9875940" y="1040865"/>
                </a:cubicBezTo>
                <a:lnTo>
                  <a:pt x="9875940" y="1198327"/>
                </a:lnTo>
                <a:lnTo>
                  <a:pt x="9914039" y="1198327"/>
                </a:lnTo>
                <a:lnTo>
                  <a:pt x="9914039" y="1126594"/>
                </a:lnTo>
                <a:cubicBezTo>
                  <a:pt x="9923719" y="1138012"/>
                  <a:pt x="9938291" y="1144094"/>
                  <a:pt x="9953216" y="1142940"/>
                </a:cubicBezTo>
                <a:cubicBezTo>
                  <a:pt x="9993176" y="1142940"/>
                  <a:pt x="10014234" y="1117064"/>
                  <a:pt x="10014234" y="1068171"/>
                </a:cubicBezTo>
                <a:cubicBezTo>
                  <a:pt x="10014234" y="1023334"/>
                  <a:pt x="9992491" y="997654"/>
                  <a:pt x="9954587" y="997654"/>
                </a:cubicBezTo>
                <a:lnTo>
                  <a:pt x="9954587" y="997682"/>
                </a:lnTo>
                <a:cubicBezTo>
                  <a:pt x="9939027" y="998380"/>
                  <a:pt x="9924452" y="1005498"/>
                  <a:pt x="9914333" y="1017339"/>
                </a:cubicBezTo>
                <a:close/>
                <a:moveTo>
                  <a:pt x="9585052" y="997212"/>
                </a:moveTo>
                <a:lnTo>
                  <a:pt x="9581918" y="997703"/>
                </a:lnTo>
                <a:lnTo>
                  <a:pt x="9520704" y="1007280"/>
                </a:lnTo>
                <a:lnTo>
                  <a:pt x="9520704" y="1017986"/>
                </a:lnTo>
                <a:lnTo>
                  <a:pt x="9523348" y="1017986"/>
                </a:lnTo>
                <a:cubicBezTo>
                  <a:pt x="9542741" y="1018545"/>
                  <a:pt x="9546952" y="1022609"/>
                  <a:pt x="9546952" y="1040846"/>
                </a:cubicBezTo>
                <a:lnTo>
                  <a:pt x="9546952" y="1139767"/>
                </a:lnTo>
                <a:lnTo>
                  <a:pt x="9585052" y="1139767"/>
                </a:lnTo>
                <a:lnTo>
                  <a:pt x="9585052" y="1066967"/>
                </a:lnTo>
                <a:cubicBezTo>
                  <a:pt x="9585052" y="1047623"/>
                  <a:pt x="9603269" y="1022628"/>
                  <a:pt x="9622661" y="1022628"/>
                </a:cubicBezTo>
                <a:cubicBezTo>
                  <a:pt x="9640879" y="1022628"/>
                  <a:pt x="9641858" y="1037849"/>
                  <a:pt x="9641858" y="1062687"/>
                </a:cubicBezTo>
                <a:lnTo>
                  <a:pt x="9641858" y="1139767"/>
                </a:lnTo>
                <a:lnTo>
                  <a:pt x="9680055" y="1139767"/>
                </a:lnTo>
                <a:lnTo>
                  <a:pt x="9680055" y="1040866"/>
                </a:lnTo>
                <a:cubicBezTo>
                  <a:pt x="9680055" y="1013011"/>
                  <a:pt x="9664972" y="997682"/>
                  <a:pt x="9637647" y="997682"/>
                </a:cubicBezTo>
                <a:cubicBezTo>
                  <a:pt x="9616043" y="998193"/>
                  <a:pt x="9596200" y="1009718"/>
                  <a:pt x="9585052" y="1028230"/>
                </a:cubicBezTo>
                <a:close/>
                <a:moveTo>
                  <a:pt x="10204730" y="997212"/>
                </a:moveTo>
                <a:lnTo>
                  <a:pt x="10201596" y="997702"/>
                </a:lnTo>
                <a:lnTo>
                  <a:pt x="10140774" y="1007280"/>
                </a:lnTo>
                <a:lnTo>
                  <a:pt x="10140774" y="1017985"/>
                </a:lnTo>
                <a:lnTo>
                  <a:pt x="10143418" y="1017985"/>
                </a:lnTo>
                <a:cubicBezTo>
                  <a:pt x="10162713" y="1018544"/>
                  <a:pt x="10166631" y="1022412"/>
                  <a:pt x="10166631" y="1040845"/>
                </a:cubicBezTo>
                <a:lnTo>
                  <a:pt x="10166631" y="1139766"/>
                </a:lnTo>
                <a:lnTo>
                  <a:pt x="10204730" y="1139766"/>
                </a:lnTo>
                <a:lnTo>
                  <a:pt x="10204730" y="1068455"/>
                </a:lnTo>
                <a:cubicBezTo>
                  <a:pt x="10202786" y="1048275"/>
                  <a:pt x="10217569" y="1030340"/>
                  <a:pt x="10237749" y="1028396"/>
                </a:cubicBezTo>
                <a:cubicBezTo>
                  <a:pt x="10240025" y="1028176"/>
                  <a:pt x="10242316" y="1028170"/>
                  <a:pt x="10244592" y="1028377"/>
                </a:cubicBezTo>
                <a:cubicBezTo>
                  <a:pt x="10249094" y="1028635"/>
                  <a:pt x="10253541" y="1029494"/>
                  <a:pt x="10257815" y="1030933"/>
                </a:cubicBezTo>
                <a:lnTo>
                  <a:pt x="10263985" y="1032667"/>
                </a:lnTo>
                <a:lnTo>
                  <a:pt x="10263985" y="1029112"/>
                </a:lnTo>
                <a:lnTo>
                  <a:pt x="10263985" y="999484"/>
                </a:lnTo>
                <a:lnTo>
                  <a:pt x="10261732" y="999141"/>
                </a:lnTo>
                <a:cubicBezTo>
                  <a:pt x="10255737" y="998203"/>
                  <a:pt x="10249680" y="997715"/>
                  <a:pt x="10243613" y="997682"/>
                </a:cubicBezTo>
                <a:cubicBezTo>
                  <a:pt x="10226159" y="998411"/>
                  <a:pt x="10210840" y="1009523"/>
                  <a:pt x="10204730" y="1025889"/>
                </a:cubicBezTo>
                <a:close/>
                <a:moveTo>
                  <a:pt x="10548800" y="957712"/>
                </a:moveTo>
                <a:lnTo>
                  <a:pt x="10548800" y="1000943"/>
                </a:lnTo>
                <a:lnTo>
                  <a:pt x="10523237" y="1000943"/>
                </a:lnTo>
                <a:lnTo>
                  <a:pt x="10523237" y="1017828"/>
                </a:lnTo>
                <a:lnTo>
                  <a:pt x="10548800" y="1017828"/>
                </a:lnTo>
                <a:lnTo>
                  <a:pt x="10548800" y="1103283"/>
                </a:lnTo>
                <a:cubicBezTo>
                  <a:pt x="10548800" y="1140080"/>
                  <a:pt x="10572502" y="1143028"/>
                  <a:pt x="10601199" y="1143028"/>
                </a:cubicBezTo>
                <a:cubicBezTo>
                  <a:pt x="10608721" y="1142852"/>
                  <a:pt x="10616223" y="1142072"/>
                  <a:pt x="10623627" y="1140697"/>
                </a:cubicBezTo>
                <a:lnTo>
                  <a:pt x="10625880" y="1140364"/>
                </a:lnTo>
                <a:lnTo>
                  <a:pt x="10625880" y="1123146"/>
                </a:lnTo>
                <a:lnTo>
                  <a:pt x="10622648" y="1123880"/>
                </a:lnTo>
                <a:cubicBezTo>
                  <a:pt x="10618848" y="1124646"/>
                  <a:pt x="10614969" y="1125014"/>
                  <a:pt x="10611091" y="1124977"/>
                </a:cubicBezTo>
                <a:cubicBezTo>
                  <a:pt x="10588173" y="1124977"/>
                  <a:pt x="10586899" y="1118219"/>
                  <a:pt x="10586899" y="1098690"/>
                </a:cubicBezTo>
                <a:lnTo>
                  <a:pt x="10586899" y="1017809"/>
                </a:lnTo>
                <a:lnTo>
                  <a:pt x="10629798" y="1017809"/>
                </a:lnTo>
                <a:lnTo>
                  <a:pt x="10629798" y="1000923"/>
                </a:lnTo>
                <a:lnTo>
                  <a:pt x="10586899" y="1000923"/>
                </a:lnTo>
                <a:lnTo>
                  <a:pt x="10586899" y="957712"/>
                </a:lnTo>
                <a:close/>
                <a:moveTo>
                  <a:pt x="11683359" y="957623"/>
                </a:moveTo>
                <a:lnTo>
                  <a:pt x="11683359" y="1000923"/>
                </a:lnTo>
                <a:lnTo>
                  <a:pt x="11657796" y="1000923"/>
                </a:lnTo>
                <a:lnTo>
                  <a:pt x="11657796" y="1017808"/>
                </a:lnTo>
                <a:lnTo>
                  <a:pt x="11683359" y="1017808"/>
                </a:lnTo>
                <a:lnTo>
                  <a:pt x="11683359" y="1103263"/>
                </a:lnTo>
                <a:cubicBezTo>
                  <a:pt x="11683359" y="1140059"/>
                  <a:pt x="11707061" y="1143007"/>
                  <a:pt x="11735758" y="1143007"/>
                </a:cubicBezTo>
                <a:cubicBezTo>
                  <a:pt x="11743250" y="1142836"/>
                  <a:pt x="11750723" y="1142056"/>
                  <a:pt x="11758089" y="1140676"/>
                </a:cubicBezTo>
                <a:lnTo>
                  <a:pt x="11760439" y="1140343"/>
                </a:lnTo>
                <a:lnTo>
                  <a:pt x="11760439" y="1123145"/>
                </a:lnTo>
                <a:lnTo>
                  <a:pt x="11757109" y="1123879"/>
                </a:lnTo>
                <a:cubicBezTo>
                  <a:pt x="11753338" y="1124651"/>
                  <a:pt x="11749499" y="1125018"/>
                  <a:pt x="11745650" y="1124976"/>
                </a:cubicBezTo>
                <a:cubicBezTo>
                  <a:pt x="11722634" y="1124976"/>
                  <a:pt x="11721458" y="1118218"/>
                  <a:pt x="11721458" y="1098689"/>
                </a:cubicBezTo>
                <a:lnTo>
                  <a:pt x="11721458" y="1017808"/>
                </a:lnTo>
                <a:lnTo>
                  <a:pt x="11764357" y="1017808"/>
                </a:lnTo>
                <a:lnTo>
                  <a:pt x="11764357" y="1000923"/>
                </a:lnTo>
                <a:lnTo>
                  <a:pt x="11721458" y="1000923"/>
                </a:lnTo>
                <a:lnTo>
                  <a:pt x="11721458" y="957623"/>
                </a:lnTo>
                <a:close/>
                <a:moveTo>
                  <a:pt x="11073573" y="941062"/>
                </a:moveTo>
                <a:lnTo>
                  <a:pt x="11073573" y="952413"/>
                </a:lnTo>
                <a:lnTo>
                  <a:pt x="11081212" y="953686"/>
                </a:lnTo>
                <a:cubicBezTo>
                  <a:pt x="11104425" y="957603"/>
                  <a:pt x="11106384" y="957927"/>
                  <a:pt x="11106384" y="980541"/>
                </a:cubicBezTo>
                <a:lnTo>
                  <a:pt x="11106384" y="1139765"/>
                </a:lnTo>
                <a:lnTo>
                  <a:pt x="11147323" y="1139765"/>
                </a:lnTo>
                <a:lnTo>
                  <a:pt x="11147323" y="981708"/>
                </a:lnTo>
                <a:lnTo>
                  <a:pt x="11251827" y="1139765"/>
                </a:lnTo>
                <a:lnTo>
                  <a:pt x="11302267" y="1139765"/>
                </a:lnTo>
                <a:lnTo>
                  <a:pt x="11302267" y="941062"/>
                </a:lnTo>
                <a:lnTo>
                  <a:pt x="11299623" y="941062"/>
                </a:lnTo>
                <a:lnTo>
                  <a:pt x="11261328" y="941062"/>
                </a:lnTo>
                <a:lnTo>
                  <a:pt x="11261328" y="1091990"/>
                </a:lnTo>
                <a:cubicBezTo>
                  <a:pt x="11253492" y="1080022"/>
                  <a:pt x="11161721" y="941062"/>
                  <a:pt x="11161721" y="941062"/>
                </a:cubicBezTo>
                <a:close/>
                <a:moveTo>
                  <a:pt x="10085829" y="939103"/>
                </a:moveTo>
                <a:cubicBezTo>
                  <a:pt x="10074421" y="937731"/>
                  <a:pt x="10064062" y="945866"/>
                  <a:pt x="10062691" y="957273"/>
                </a:cubicBezTo>
                <a:cubicBezTo>
                  <a:pt x="10061319" y="968679"/>
                  <a:pt x="10069454" y="979039"/>
                  <a:pt x="10080861" y="980411"/>
                </a:cubicBezTo>
                <a:cubicBezTo>
                  <a:pt x="10082413" y="980598"/>
                  <a:pt x="10083981" y="980609"/>
                  <a:pt x="10085535" y="980444"/>
                </a:cubicBezTo>
                <a:lnTo>
                  <a:pt x="10085535" y="980415"/>
                </a:lnTo>
                <a:cubicBezTo>
                  <a:pt x="10097883" y="981196"/>
                  <a:pt x="10108570" y="971918"/>
                  <a:pt x="10109531" y="959583"/>
                </a:cubicBezTo>
                <a:cubicBezTo>
                  <a:pt x="10108536" y="947436"/>
                  <a:pt x="10097992" y="938325"/>
                  <a:pt x="10085829" y="939103"/>
                </a:cubicBezTo>
                <a:close/>
                <a:moveTo>
                  <a:pt x="9480646" y="937655"/>
                </a:moveTo>
                <a:lnTo>
                  <a:pt x="9477708" y="937919"/>
                </a:lnTo>
                <a:lnTo>
                  <a:pt x="9402293" y="944775"/>
                </a:lnTo>
                <a:lnTo>
                  <a:pt x="9402293" y="955931"/>
                </a:lnTo>
                <a:lnTo>
                  <a:pt x="9404644" y="956225"/>
                </a:lnTo>
                <a:cubicBezTo>
                  <a:pt x="9435006" y="959800"/>
                  <a:pt x="9435006" y="959800"/>
                  <a:pt x="9435006" y="981690"/>
                </a:cubicBezTo>
                <a:lnTo>
                  <a:pt x="9435006" y="1139748"/>
                </a:lnTo>
                <a:lnTo>
                  <a:pt x="9480646" y="1139748"/>
                </a:lnTo>
                <a:close/>
                <a:moveTo>
                  <a:pt x="10710404" y="932962"/>
                </a:moveTo>
                <a:lnTo>
                  <a:pt x="10707368" y="933364"/>
                </a:lnTo>
                <a:lnTo>
                  <a:pt x="10646644" y="940827"/>
                </a:lnTo>
                <a:lnTo>
                  <a:pt x="10646644" y="951600"/>
                </a:lnTo>
                <a:lnTo>
                  <a:pt x="10649288" y="951688"/>
                </a:lnTo>
                <a:cubicBezTo>
                  <a:pt x="10668191" y="952531"/>
                  <a:pt x="10672207" y="956683"/>
                  <a:pt x="10672207" y="975146"/>
                </a:cubicBezTo>
                <a:lnTo>
                  <a:pt x="10672207" y="1139766"/>
                </a:lnTo>
                <a:lnTo>
                  <a:pt x="10710404" y="1139766"/>
                </a:lnTo>
                <a:lnTo>
                  <a:pt x="10710404" y="1068719"/>
                </a:lnTo>
                <a:cubicBezTo>
                  <a:pt x="10710404" y="1042755"/>
                  <a:pt x="10729699" y="1022628"/>
                  <a:pt x="10746251" y="1022628"/>
                </a:cubicBezTo>
                <a:cubicBezTo>
                  <a:pt x="10767504" y="1022628"/>
                  <a:pt x="10767504" y="1038553"/>
                  <a:pt x="10767504" y="1052657"/>
                </a:cubicBezTo>
                <a:lnTo>
                  <a:pt x="10767504" y="1139766"/>
                </a:lnTo>
                <a:lnTo>
                  <a:pt x="10805604" y="1139766"/>
                </a:lnTo>
                <a:lnTo>
                  <a:pt x="10805604" y="1048347"/>
                </a:lnTo>
                <a:cubicBezTo>
                  <a:pt x="10805604" y="1033157"/>
                  <a:pt x="10805604" y="997682"/>
                  <a:pt x="10762705" y="997682"/>
                </a:cubicBezTo>
                <a:cubicBezTo>
                  <a:pt x="10741089" y="997754"/>
                  <a:pt x="10721158" y="1009345"/>
                  <a:pt x="10710404" y="1028093"/>
                </a:cubicBezTo>
                <a:close/>
                <a:moveTo>
                  <a:pt x="11691292" y="901218"/>
                </a:moveTo>
                <a:lnTo>
                  <a:pt x="11642419" y="957691"/>
                </a:lnTo>
                <a:lnTo>
                  <a:pt x="11682771" y="957691"/>
                </a:lnTo>
                <a:lnTo>
                  <a:pt x="11731644" y="901218"/>
                </a:lnTo>
                <a:close/>
                <a:moveTo>
                  <a:pt x="10547331" y="583241"/>
                </a:moveTo>
                <a:lnTo>
                  <a:pt x="10606292" y="728608"/>
                </a:lnTo>
                <a:lnTo>
                  <a:pt x="10488370" y="728608"/>
                </a:lnTo>
                <a:close/>
                <a:moveTo>
                  <a:pt x="11138508" y="528864"/>
                </a:moveTo>
                <a:cubicBezTo>
                  <a:pt x="11138998" y="528864"/>
                  <a:pt x="11138508" y="848508"/>
                  <a:pt x="11138508" y="848508"/>
                </a:cubicBezTo>
                <a:lnTo>
                  <a:pt x="11223130" y="848508"/>
                </a:lnTo>
                <a:cubicBezTo>
                  <a:pt x="11223130" y="848596"/>
                  <a:pt x="11223228" y="708373"/>
                  <a:pt x="11223130" y="707844"/>
                </a:cubicBezTo>
                <a:cubicBezTo>
                  <a:pt x="11223130" y="707844"/>
                  <a:pt x="11394136" y="708236"/>
                  <a:pt x="11394136" y="707844"/>
                </a:cubicBezTo>
                <a:lnTo>
                  <a:pt x="11394136" y="848508"/>
                </a:lnTo>
                <a:cubicBezTo>
                  <a:pt x="11394234" y="848508"/>
                  <a:pt x="11478758" y="848508"/>
                  <a:pt x="11478856" y="848508"/>
                </a:cubicBezTo>
                <a:cubicBezTo>
                  <a:pt x="11479150" y="848156"/>
                  <a:pt x="11478856" y="528864"/>
                  <a:pt x="11478856" y="528864"/>
                </a:cubicBezTo>
                <a:cubicBezTo>
                  <a:pt x="11477974" y="528864"/>
                  <a:pt x="11394038" y="528864"/>
                  <a:pt x="11394136" y="528864"/>
                </a:cubicBezTo>
                <a:cubicBezTo>
                  <a:pt x="11394038" y="528835"/>
                  <a:pt x="11394136" y="657149"/>
                  <a:pt x="11394136" y="656678"/>
                </a:cubicBezTo>
                <a:lnTo>
                  <a:pt x="11223130" y="656678"/>
                </a:lnTo>
                <a:lnTo>
                  <a:pt x="11223130" y="528864"/>
                </a:lnTo>
                <a:close/>
                <a:moveTo>
                  <a:pt x="10075937" y="528864"/>
                </a:moveTo>
                <a:cubicBezTo>
                  <a:pt x="10076133" y="528933"/>
                  <a:pt x="10075937" y="583241"/>
                  <a:pt x="10075937" y="583241"/>
                </a:cubicBezTo>
                <a:lnTo>
                  <a:pt x="10205416" y="583241"/>
                </a:lnTo>
                <a:lnTo>
                  <a:pt x="10205416" y="848508"/>
                </a:lnTo>
                <a:lnTo>
                  <a:pt x="10290038" y="848508"/>
                </a:lnTo>
                <a:lnTo>
                  <a:pt x="10290038" y="583241"/>
                </a:lnTo>
                <a:lnTo>
                  <a:pt x="10419517" y="583241"/>
                </a:lnTo>
                <a:lnTo>
                  <a:pt x="10419517" y="528864"/>
                </a:lnTo>
                <a:cubicBezTo>
                  <a:pt x="10419517" y="528864"/>
                  <a:pt x="10076133" y="528933"/>
                  <a:pt x="10075937" y="528864"/>
                </a:cubicBezTo>
                <a:close/>
                <a:moveTo>
                  <a:pt x="10495421" y="528864"/>
                </a:moveTo>
                <a:lnTo>
                  <a:pt x="10346060" y="848508"/>
                </a:lnTo>
                <a:cubicBezTo>
                  <a:pt x="10346060" y="848508"/>
                  <a:pt x="10440378" y="848596"/>
                  <a:pt x="10440280" y="848508"/>
                </a:cubicBezTo>
                <a:cubicBezTo>
                  <a:pt x="10440672" y="848596"/>
                  <a:pt x="10467998" y="779773"/>
                  <a:pt x="10467998" y="779773"/>
                </a:cubicBezTo>
                <a:lnTo>
                  <a:pt x="10626663" y="779773"/>
                </a:lnTo>
                <a:cubicBezTo>
                  <a:pt x="10626663" y="779773"/>
                  <a:pt x="10654479" y="848508"/>
                  <a:pt x="10654381" y="848508"/>
                </a:cubicBezTo>
                <a:cubicBezTo>
                  <a:pt x="10653793" y="848508"/>
                  <a:pt x="10748895" y="848508"/>
                  <a:pt x="10748699" y="848508"/>
                </a:cubicBezTo>
                <a:lnTo>
                  <a:pt x="10599240" y="528864"/>
                </a:lnTo>
                <a:cubicBezTo>
                  <a:pt x="10599240" y="528864"/>
                  <a:pt x="10495421" y="529060"/>
                  <a:pt x="10495421" y="528864"/>
                </a:cubicBezTo>
                <a:close/>
                <a:moveTo>
                  <a:pt x="11545848" y="528864"/>
                </a:moveTo>
                <a:lnTo>
                  <a:pt x="11545848" y="848508"/>
                </a:lnTo>
                <a:lnTo>
                  <a:pt x="11630666" y="848508"/>
                </a:lnTo>
                <a:lnTo>
                  <a:pt x="11630666" y="528864"/>
                </a:lnTo>
                <a:close/>
                <a:moveTo>
                  <a:pt x="9553515" y="528864"/>
                </a:moveTo>
                <a:cubicBezTo>
                  <a:pt x="9554005" y="528864"/>
                  <a:pt x="9553515" y="848508"/>
                  <a:pt x="9553515" y="848508"/>
                </a:cubicBezTo>
                <a:lnTo>
                  <a:pt x="9638235" y="848508"/>
                </a:lnTo>
                <a:cubicBezTo>
                  <a:pt x="9638137" y="848596"/>
                  <a:pt x="9638333" y="708372"/>
                  <a:pt x="9638235" y="707844"/>
                </a:cubicBezTo>
                <a:cubicBezTo>
                  <a:pt x="9638235" y="707844"/>
                  <a:pt x="9809143" y="708235"/>
                  <a:pt x="9809143" y="707844"/>
                </a:cubicBezTo>
                <a:lnTo>
                  <a:pt x="9809143" y="848508"/>
                </a:lnTo>
                <a:cubicBezTo>
                  <a:pt x="9809241" y="848508"/>
                  <a:pt x="9893765" y="848508"/>
                  <a:pt x="9893863" y="848508"/>
                </a:cubicBezTo>
                <a:cubicBezTo>
                  <a:pt x="9894157" y="848156"/>
                  <a:pt x="9893863" y="528864"/>
                  <a:pt x="9893863" y="528864"/>
                </a:cubicBezTo>
                <a:cubicBezTo>
                  <a:pt x="9892982" y="528864"/>
                  <a:pt x="9809045" y="528864"/>
                  <a:pt x="9809143" y="528864"/>
                </a:cubicBezTo>
                <a:cubicBezTo>
                  <a:pt x="9809045" y="528835"/>
                  <a:pt x="9809143" y="657149"/>
                  <a:pt x="9809143" y="656678"/>
                </a:cubicBezTo>
                <a:lnTo>
                  <a:pt x="9638235" y="656678"/>
                </a:lnTo>
                <a:cubicBezTo>
                  <a:pt x="9638137" y="657589"/>
                  <a:pt x="9638235" y="528864"/>
                  <a:pt x="9638235" y="528864"/>
                </a:cubicBezTo>
                <a:close/>
                <a:moveTo>
                  <a:pt x="9960953" y="528864"/>
                </a:moveTo>
                <a:lnTo>
                  <a:pt x="9960953" y="848508"/>
                </a:lnTo>
                <a:lnTo>
                  <a:pt x="10045673" y="848508"/>
                </a:lnTo>
                <a:lnTo>
                  <a:pt x="10045673" y="528864"/>
                </a:lnTo>
                <a:close/>
                <a:moveTo>
                  <a:pt x="10929795" y="520972"/>
                </a:moveTo>
                <a:cubicBezTo>
                  <a:pt x="10895705" y="520037"/>
                  <a:pt x="10861435" y="525663"/>
                  <a:pt x="10828914" y="537904"/>
                </a:cubicBezTo>
                <a:cubicBezTo>
                  <a:pt x="10798464" y="549314"/>
                  <a:pt x="10772823" y="570783"/>
                  <a:pt x="10756241" y="598756"/>
                </a:cubicBezTo>
                <a:cubicBezTo>
                  <a:pt x="10740717" y="627243"/>
                  <a:pt x="10733146" y="659380"/>
                  <a:pt x="10734302" y="691800"/>
                </a:cubicBezTo>
                <a:cubicBezTo>
                  <a:pt x="10734233" y="714967"/>
                  <a:pt x="10738073" y="737980"/>
                  <a:pt x="10745663" y="759871"/>
                </a:cubicBezTo>
                <a:lnTo>
                  <a:pt x="10745663" y="759880"/>
                </a:lnTo>
                <a:cubicBezTo>
                  <a:pt x="10761403" y="800341"/>
                  <a:pt x="10795124" y="831133"/>
                  <a:pt x="10836847" y="843130"/>
                </a:cubicBezTo>
                <a:cubicBezTo>
                  <a:pt x="10864672" y="851890"/>
                  <a:pt x="10893673" y="856355"/>
                  <a:pt x="10922840" y="856372"/>
                </a:cubicBezTo>
                <a:cubicBezTo>
                  <a:pt x="10960234" y="856306"/>
                  <a:pt x="10997237" y="848747"/>
                  <a:pt x="11031654" y="834140"/>
                </a:cubicBezTo>
                <a:cubicBezTo>
                  <a:pt x="11061389" y="821282"/>
                  <a:pt x="11083318" y="795144"/>
                  <a:pt x="11090810" y="763621"/>
                </a:cubicBezTo>
                <a:cubicBezTo>
                  <a:pt x="11093210" y="753680"/>
                  <a:pt x="11094650" y="743533"/>
                  <a:pt x="11095120" y="733318"/>
                </a:cubicBezTo>
                <a:lnTo>
                  <a:pt x="11005895" y="733318"/>
                </a:lnTo>
                <a:cubicBezTo>
                  <a:pt x="11005993" y="745104"/>
                  <a:pt x="11003623" y="756780"/>
                  <a:pt x="10998941" y="767598"/>
                </a:cubicBezTo>
                <a:cubicBezTo>
                  <a:pt x="10991918" y="783450"/>
                  <a:pt x="10978442" y="795534"/>
                  <a:pt x="10961919" y="800790"/>
                </a:cubicBezTo>
                <a:cubicBezTo>
                  <a:pt x="10949294" y="804866"/>
                  <a:pt x="10936101" y="806919"/>
                  <a:pt x="10922840" y="806873"/>
                </a:cubicBezTo>
                <a:cubicBezTo>
                  <a:pt x="10907307" y="806833"/>
                  <a:pt x="10891910" y="803983"/>
                  <a:pt x="10877395" y="798460"/>
                </a:cubicBezTo>
                <a:cubicBezTo>
                  <a:pt x="10854849" y="789938"/>
                  <a:pt x="10837689" y="771214"/>
                  <a:pt x="10831167" y="748009"/>
                </a:cubicBezTo>
                <a:cubicBezTo>
                  <a:pt x="10825907" y="729738"/>
                  <a:pt x="10823175" y="710832"/>
                  <a:pt x="10823037" y="691820"/>
                </a:cubicBezTo>
                <a:cubicBezTo>
                  <a:pt x="10823086" y="668907"/>
                  <a:pt x="10826994" y="646167"/>
                  <a:pt x="10834595" y="624553"/>
                </a:cubicBezTo>
                <a:cubicBezTo>
                  <a:pt x="10842165" y="602725"/>
                  <a:pt x="10859188" y="585486"/>
                  <a:pt x="10880921" y="577649"/>
                </a:cubicBezTo>
                <a:cubicBezTo>
                  <a:pt x="10894378" y="572858"/>
                  <a:pt x="10908560" y="570417"/>
                  <a:pt x="10922840" y="570431"/>
                </a:cubicBezTo>
                <a:cubicBezTo>
                  <a:pt x="10935387" y="570428"/>
                  <a:pt x="10947864" y="572293"/>
                  <a:pt x="10959862" y="575964"/>
                </a:cubicBezTo>
                <a:cubicBezTo>
                  <a:pt x="10978118" y="581479"/>
                  <a:pt x="10992800" y="595124"/>
                  <a:pt x="10999627" y="612928"/>
                </a:cubicBezTo>
                <a:cubicBezTo>
                  <a:pt x="11002506" y="620816"/>
                  <a:pt x="11004063" y="629125"/>
                  <a:pt x="11004230" y="637521"/>
                </a:cubicBezTo>
                <a:lnTo>
                  <a:pt x="11093063" y="637521"/>
                </a:lnTo>
                <a:cubicBezTo>
                  <a:pt x="11092456" y="630719"/>
                  <a:pt x="11091437" y="623958"/>
                  <a:pt x="11090027" y="617276"/>
                </a:cubicBezTo>
                <a:cubicBezTo>
                  <a:pt x="11083112" y="584284"/>
                  <a:pt x="11060566" y="556724"/>
                  <a:pt x="11029597" y="543409"/>
                </a:cubicBezTo>
                <a:cubicBezTo>
                  <a:pt x="10997795" y="529404"/>
                  <a:pt x="10963885" y="521907"/>
                  <a:pt x="10929795" y="520972"/>
                </a:cubicBezTo>
                <a:close/>
                <a:moveTo>
                  <a:pt x="0" y="0"/>
                </a:moveTo>
                <a:lnTo>
                  <a:pt x="12193196" y="0"/>
                </a:lnTo>
                <a:lnTo>
                  <a:pt x="12193196" y="4738686"/>
                </a:lnTo>
                <a:lnTo>
                  <a:pt x="0" y="4738686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 tIns="684000" anchor="ctr">
            <a:noAutofit/>
          </a:bodyPr>
          <a:lstStyle>
            <a:lvl1pPr algn="ctr">
              <a:defRPr sz="1800"/>
            </a:lvl1pPr>
          </a:lstStyle>
          <a:p>
            <a:r>
              <a:rPr lang="en-GB"/>
              <a:t> </a:t>
            </a:r>
          </a:p>
        </p:txBody>
      </p:sp>
      <p:grpSp>
        <p:nvGrpSpPr>
          <p:cNvPr id="16" name="グループ化 39">
            <a:extLst>
              <a:ext uri="{FF2B5EF4-FFF2-40B4-BE49-F238E27FC236}">
                <a16:creationId xmlns:a16="http://schemas.microsoft.com/office/drawing/2014/main" id="{6809A62B-C3B4-4040-AF1D-DC2BF3BDB821}"/>
              </a:ext>
            </a:extLst>
          </p:cNvPr>
          <p:cNvGrpSpPr/>
          <p:nvPr/>
        </p:nvGrpSpPr>
        <p:grpSpPr bwMode="gray">
          <a:xfrm>
            <a:off x="0" y="4739176"/>
            <a:ext cx="12192000" cy="129984"/>
            <a:chOff x="324487" y="2057426"/>
            <a:chExt cx="8495663" cy="97488"/>
          </a:xfrm>
        </p:grpSpPr>
        <p:sp>
          <p:nvSpPr>
            <p:cNvPr id="17" name="正方形/長方形 11">
              <a:extLst>
                <a:ext uri="{FF2B5EF4-FFF2-40B4-BE49-F238E27FC236}">
                  <a16:creationId xmlns:a16="http://schemas.microsoft.com/office/drawing/2014/main" id="{DE7BDB25-5A30-4A34-ABFC-B07249D3BF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4489" y="2057426"/>
              <a:ext cx="8495661" cy="97488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GB" altLang="ja-JP" sz="4623"/>
            </a:p>
          </p:txBody>
        </p:sp>
        <p:grpSp>
          <p:nvGrpSpPr>
            <p:cNvPr id="18" name="グループ化 16">
              <a:extLst>
                <a:ext uri="{FF2B5EF4-FFF2-40B4-BE49-F238E27FC236}">
                  <a16:creationId xmlns:a16="http://schemas.microsoft.com/office/drawing/2014/main" id="{74096499-38D4-462C-8826-1DB8FC711C1A}"/>
                </a:ext>
              </a:extLst>
            </p:cNvPr>
            <p:cNvGrpSpPr/>
            <p:nvPr/>
          </p:nvGrpSpPr>
          <p:grpSpPr bwMode="gray">
            <a:xfrm>
              <a:off x="324487" y="2057426"/>
              <a:ext cx="1938812" cy="97488"/>
              <a:chOff x="312738" y="2747963"/>
              <a:chExt cx="1970087" cy="109537"/>
            </a:xfrm>
          </p:grpSpPr>
          <p:sp>
            <p:nvSpPr>
              <p:cNvPr id="19" name="正方形/長方形 42">
                <a:extLst>
                  <a:ext uri="{FF2B5EF4-FFF2-40B4-BE49-F238E27FC236}">
                    <a16:creationId xmlns:a16="http://schemas.microsoft.com/office/drawing/2014/main" id="{177D7250-BABC-4571-82D6-043E996D9DB0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1970087" cy="109537"/>
              </a:xfrm>
              <a:prstGeom prst="rect">
                <a:avLst/>
              </a:prstGeom>
              <a:solidFill>
                <a:srgbClr val="FF002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altLang="ja-JP" sz="24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0" name="正方形/長方形 43">
                <a:extLst>
                  <a:ext uri="{FF2B5EF4-FFF2-40B4-BE49-F238E27FC236}">
                    <a16:creationId xmlns:a16="http://schemas.microsoft.com/office/drawing/2014/main" id="{BFDA5A74-11DA-4E7F-9508-F12960D3B74E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985837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altLang="ja-JP" sz="24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pic>
        <p:nvPicPr>
          <p:cNvPr id="23" name="Confidential" hidden="1">
            <a:extLst>
              <a:ext uri="{FF2B5EF4-FFF2-40B4-BE49-F238E27FC236}">
                <a16:creationId xmlns:a16="http://schemas.microsoft.com/office/drawing/2014/main" id="{F228D1DE-D36C-4E9B-BD91-2341FC0B7E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7200" y="345600"/>
            <a:ext cx="1671890" cy="266400"/>
          </a:xfrm>
          <a:prstGeom prst="rect">
            <a:avLst/>
          </a:prstGeom>
        </p:spPr>
      </p:pic>
      <p:pic>
        <p:nvPicPr>
          <p:cNvPr id="24" name="Public">
            <a:extLst>
              <a:ext uri="{FF2B5EF4-FFF2-40B4-BE49-F238E27FC236}">
                <a16:creationId xmlns:a16="http://schemas.microsoft.com/office/drawing/2014/main" id="{335E045B-8C20-4063-A4AC-CE1126B6A6B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5718" y="345600"/>
            <a:ext cx="1671890" cy="266400"/>
          </a:xfrm>
          <a:prstGeom prst="rect">
            <a:avLst/>
          </a:prstGeom>
        </p:spPr>
      </p:pic>
      <p:pic>
        <p:nvPicPr>
          <p:cNvPr id="25" name="Internal" hidden="1">
            <a:extLst>
              <a:ext uri="{FF2B5EF4-FFF2-40B4-BE49-F238E27FC236}">
                <a16:creationId xmlns:a16="http://schemas.microsoft.com/office/drawing/2014/main" id="{CFAE1106-3574-4FE9-B82F-D12EAEB197C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5718" y="344152"/>
            <a:ext cx="1671890" cy="266400"/>
          </a:xfrm>
          <a:prstGeom prst="rect">
            <a:avLst/>
          </a:prstGeom>
        </p:spPr>
      </p:pic>
      <p:pic>
        <p:nvPicPr>
          <p:cNvPr id="27" name="Strictly" hidden="1">
            <a:extLst>
              <a:ext uri="{FF2B5EF4-FFF2-40B4-BE49-F238E27FC236}">
                <a16:creationId xmlns:a16="http://schemas.microsoft.com/office/drawing/2014/main" id="{C9A12DA8-BB00-43A2-B6FC-35D89D95C92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61960" y="345600"/>
            <a:ext cx="1671890" cy="2664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1CABBB2-CA9C-41F3-A28D-6CEDF3BDE24A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9330" y="6370483"/>
            <a:ext cx="2663370" cy="363891"/>
          </a:xfrm>
          <a:prstGeom prst="rect">
            <a:avLst/>
          </a:prstGeom>
        </p:spPr>
      </p:pic>
      <p:sp>
        <p:nvSpPr>
          <p:cNvPr id="34" name="Footer Placeholder 4">
            <a:extLst>
              <a:ext uri="{FF2B5EF4-FFF2-40B4-BE49-F238E27FC236}">
                <a16:creationId xmlns:a16="http://schemas.microsoft.com/office/drawing/2014/main" id="{0486618B-68FB-45E3-A35A-DDD33A48B6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DC8ACF76-1594-442B-8415-8F2C0043D3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C24EC536-6FE3-4540-8D85-74C58F0BF69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6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E21B88A0-A403-4AB9-884E-E1F08D8A6559}"/>
              </a:ext>
            </a:extLst>
          </p:cNvPr>
          <p:cNvSpPr txBox="1"/>
          <p:nvPr userDrawn="1"/>
        </p:nvSpPr>
        <p:spPr bwMode="gray">
          <a:xfrm>
            <a:off x="4856400" y="6540775"/>
            <a:ext cx="24840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23 Hitachi Energy. All rights reserved.</a:t>
            </a:r>
            <a:endParaRPr kumimoji="0" lang="en-GB" sz="900" b="0" i="0" u="none" strike="noStrike" kern="1200" cap="none" spc="-1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7" name="Title 1" descr="{&#10; &quot;SkabelonDesign&quot;: {&#10; &quot;textualValue&quot;: &quot;&lt;key1/&gt;&quot;,&#10; &quot;bindingCollection&quot;: {&#10; &quot;key1&quot;: {&quot;SkabelonDesign&quot;:{&quot;type&quot;:&quot;Text&quot;,&quot;binding&quot;:&quot;Title&quot;}}&#10; }&#10; }&#10;}">
            <a:extLst>
              <a:ext uri="{FF2B5EF4-FFF2-40B4-BE49-F238E27FC236}">
                <a16:creationId xmlns:a16="http://schemas.microsoft.com/office/drawing/2014/main" id="{85A083AA-2179-4949-BA44-96F5E7F17DD0}"/>
              </a:ext>
            </a:extLst>
          </p:cNvPr>
          <p:cNvSpPr txBox="1">
            <a:spLocks/>
          </p:cNvSpPr>
          <p:nvPr userDrawn="1"/>
        </p:nvSpPr>
        <p:spPr>
          <a:xfrm>
            <a:off x="1368000" y="5090400"/>
            <a:ext cx="10555200" cy="49320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>
                <a:solidFill>
                  <a:schemeClr val="tx1"/>
                </a:solidFill>
              </a:rPr>
              <a:t>Hydrogen Solutions</a:t>
            </a:r>
          </a:p>
        </p:txBody>
      </p:sp>
      <p:sp>
        <p:nvSpPr>
          <p:cNvPr id="38" name="Subtitle 2" descr="{&#10; &quot;SkabelonDesign&quot;: {&#10; &quot;textualValue&quot;: &quot;&lt;key1/&gt;&quot;,&#10; &quot;bindingCollection&quot;: {&#10; &quot;key1&quot;: {&quot;SkabelonDesign&quot;:{&quot;type&quot;:&quot;Text&quot;,&quot;binding&quot;:&quot;SupplementaryTitle&quot;}}&#10; }&#10; }&#10;}">
            <a:extLst>
              <a:ext uri="{FF2B5EF4-FFF2-40B4-BE49-F238E27FC236}">
                <a16:creationId xmlns:a16="http://schemas.microsoft.com/office/drawing/2014/main" id="{9D64BD7E-9341-47BB-BA00-E31F74C1F95B}"/>
              </a:ext>
            </a:extLst>
          </p:cNvPr>
          <p:cNvSpPr txBox="1">
            <a:spLocks/>
          </p:cNvSpPr>
          <p:nvPr userDrawn="1"/>
        </p:nvSpPr>
        <p:spPr>
          <a:xfrm>
            <a:off x="1378800" y="5583600"/>
            <a:ext cx="10555200" cy="32760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>
              <a:solidFill>
                <a:schemeClr val="tx1"/>
              </a:solidFill>
              <a:latin typeface="+mn-lt"/>
            </a:endParaRPr>
          </a:p>
        </p:txBody>
      </p:sp>
      <p:sp>
        <p:nvSpPr>
          <p:cNvPr id="39" name="Subtitle 2" descr="{&#10; &quot;SkabelonDesign&quot;: {&#10; &quot;textualValue&quot;: &quot;&lt;key1/&gt;&quot;,&#10; &quot;bindingCollection&quot;: {&#10; &quot;key1&quot;: {&quot;SkabelonDesign&quot;:{&quot;type&quot;:&quot;Text&quot;,&quot;binding&quot;:&quot;AdditionalInformation&quot;}}&#10; }&#10; }&#10;}">
            <a:extLst>
              <a:ext uri="{FF2B5EF4-FFF2-40B4-BE49-F238E27FC236}">
                <a16:creationId xmlns:a16="http://schemas.microsoft.com/office/drawing/2014/main" id="{0EC2E723-61CE-4C8C-BECE-AF3403B1D12D}"/>
              </a:ext>
            </a:extLst>
          </p:cNvPr>
          <p:cNvSpPr txBox="1">
            <a:spLocks/>
          </p:cNvSpPr>
          <p:nvPr userDrawn="1"/>
        </p:nvSpPr>
        <p:spPr>
          <a:xfrm>
            <a:off x="1378800" y="5972400"/>
            <a:ext cx="10555200" cy="30600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>
                <a:solidFill>
                  <a:schemeClr val="tx1"/>
                </a:solidFill>
              </a:rPr>
              <a:t>Hitachi Energy</a:t>
            </a:r>
          </a:p>
        </p:txBody>
      </p:sp>
      <p:sp>
        <p:nvSpPr>
          <p:cNvPr id="40" name="text" descr="{&#10; &quot;SkabelonDesign&quot;: {&#10; &quot;textualValue&quot;: &quot;&lt;key1/&gt;&quot;,&#10; &quot;bindingCollection&quot;: {&#10; &quot;key1&quot;: {&quot;SkabelonDesign&quot;:{&quot;type&quot;:&quot;Text&quot;,&quot;binding&quot;:&quot;PPMetadata&quot;}}&#10; }&#10; }&#10;}">
            <a:extLst>
              <a:ext uri="{FF2B5EF4-FFF2-40B4-BE49-F238E27FC236}">
                <a16:creationId xmlns:a16="http://schemas.microsoft.com/office/drawing/2014/main" id="{CDF51FEF-E9E1-4C32-AB05-F101B7031708}"/>
              </a:ext>
            </a:extLst>
          </p:cNvPr>
          <p:cNvSpPr txBox="1"/>
          <p:nvPr userDrawn="1"/>
        </p:nvSpPr>
        <p:spPr bwMode="gray">
          <a:xfrm>
            <a:off x="1378800" y="6547975"/>
            <a:ext cx="2889921" cy="1549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GB" sz="930">
                <a:solidFill>
                  <a:schemeClr val="tx1"/>
                </a:solidFill>
              </a:rPr>
              <a:t>2023-03-09</a:t>
            </a:r>
          </a:p>
        </p:txBody>
      </p:sp>
    </p:spTree>
    <p:extLst>
      <p:ext uri="{BB962C8B-B14F-4D97-AF65-F5344CB8AC3E}">
        <p14:creationId xmlns:p14="http://schemas.microsoft.com/office/powerpoint/2010/main" val="3606963090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Red box (1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0EE7B7B-F566-4855-B2E0-D348111D66F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17200" y="882650"/>
            <a:ext cx="8974800" cy="5462588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6BC035B-BAB1-4A51-BFA6-CE8077EA9BCB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263525" y="1375200"/>
            <a:ext cx="3672000" cy="2160000"/>
          </a:xfrm>
          <a:solidFill>
            <a:schemeClr val="tx2"/>
          </a:solidFill>
        </p:spPr>
        <p:txBody>
          <a:bodyPr lIns="324000" tIns="252000" rIns="324000" bIns="46800"/>
          <a:lstStyle>
            <a:lvl1pPr>
              <a:lnSpc>
                <a:spcPct val="100000"/>
              </a:lnSpc>
              <a:spcBef>
                <a:spcPts val="600"/>
              </a:spcBef>
              <a:defRPr sz="20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2000" b="1"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9C6567E-C4DF-4FB0-9D5E-ACC3B7BDA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E7135E-979F-46C5-87ED-9340DADDAF4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817AC20B-743F-47C0-98DF-04476E5640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44374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2B03D77-2FA2-473A-AE4B-5598DD84CA0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7457" y="3879442"/>
            <a:ext cx="4074543" cy="2465796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22A883F4-CFBC-4CBC-8A0D-C4833E1B0B29}"/>
              </a:ext>
            </a:extLst>
          </p:cNvPr>
          <p:cNvSpPr>
            <a:spLocks noGrp="1"/>
          </p:cNvSpPr>
          <p:nvPr>
            <p:ph sz="quarter" idx="32"/>
          </p:nvPr>
        </p:nvSpPr>
        <p:spPr bwMode="gray">
          <a:xfrm>
            <a:off x="8117457" y="1947770"/>
            <a:ext cx="3811019" cy="1931672"/>
          </a:xfrm>
        </p:spPr>
        <p:txBody>
          <a:bodyPr lIns="324000" tIns="0" rIns="108000" bIns="32400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F53AC1E3-D661-4688-928C-C864A4595EA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117457" y="882649"/>
            <a:ext cx="3811019" cy="805271"/>
          </a:xfrm>
        </p:spPr>
        <p:txBody>
          <a:bodyPr lIns="324000" tIns="21600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E6774A-9B02-43E6-AF77-2A4668151235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728D6A8E-B7B2-46FE-B092-198A01EC3C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6238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(1.2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DEC4303-B6CF-46B0-B379-C819ED7C2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77AD5145-5964-48FD-8668-FAC67E019C0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" y="882650"/>
            <a:ext cx="12191999" cy="5462588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DE5099-B64D-4E55-81FB-49ABBB6A644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6329601D-B987-48A1-91A5-3437FFB092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95316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DEC4303-B6CF-46B0-B379-C819ED7C2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5EFDDFA6-A169-418F-B10F-BD5F68A5495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" y="882650"/>
            <a:ext cx="12192000" cy="5462588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E443FC17-BCDF-43B2-ACE2-E95733DC12BE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263525" y="1125538"/>
            <a:ext cx="3672236" cy="4471200"/>
          </a:xfrm>
          <a:solidFill>
            <a:schemeClr val="bg1"/>
          </a:solidFill>
        </p:spPr>
        <p:txBody>
          <a:bodyPr lIns="324000" tIns="252000" rIns="324000" bIns="46800"/>
          <a:lstStyle>
            <a:lvl1pPr>
              <a:lnSpc>
                <a:spcPct val="100000"/>
              </a:lnSpc>
              <a:spcBef>
                <a:spcPts val="600"/>
              </a:spcBef>
              <a:defRPr sz="20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2000" b="1"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CF78A4-6DF2-4125-932D-83748BE56F6E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D4975902-38A0-4F75-A808-F5066273AE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58664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4) &amp; (Red) (1.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0EE7B7B-F566-4855-B2E0-D348111D66F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31704" y="1268760"/>
            <a:ext cx="4248472" cy="2448272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97E6A79D-7394-4BCC-8689-C94B7FC7798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896027" y="1268760"/>
            <a:ext cx="4032448" cy="2448272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A2501572-ACDF-4C5D-9DF5-F46F5B75D4D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31704" y="3896966"/>
            <a:ext cx="4248472" cy="2448272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E9DDE618-DE60-409A-81C9-DF306EC1F8B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896027" y="3896966"/>
            <a:ext cx="4032448" cy="2448272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DE7F3C5-E709-407F-AE6E-D2E1093035DE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263525" y="1268760"/>
            <a:ext cx="2952155" cy="5076478"/>
          </a:xfrm>
          <a:solidFill>
            <a:srgbClr val="B3B3B3"/>
          </a:solidFill>
        </p:spPr>
        <p:txBody>
          <a:bodyPr lIns="252000" tIns="216000" rIns="252000" bIns="46800"/>
          <a:lstStyle>
            <a:lvl1pPr>
              <a:lnSpc>
                <a:spcPct val="100000"/>
              </a:lnSpc>
              <a:spcBef>
                <a:spcPts val="600"/>
              </a:spcBef>
              <a:defRPr sz="20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2000" b="1"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2B434BB-384B-450C-9091-686F6412B5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AEE6A2-4B6B-4A09-A7D9-F9C49430E5C2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CC30C0F8-B60E-459E-96E8-998FEC1571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0981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Content (6) &amp; Numbers (3) (1.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D66D41FB-EBBB-45E5-AA8A-76C72AEA443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1787157" y="4887774"/>
            <a:ext cx="2134531" cy="1457464"/>
          </a:xfrm>
          <a:solidFill>
            <a:srgbClr val="B3B3B3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8EDA41C2-2290-499E-8ACE-371016FB2DD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787157" y="1376172"/>
            <a:ext cx="2134533" cy="1476762"/>
          </a:xfrm>
          <a:solidFill>
            <a:schemeClr val="tx2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B9761349-0BC1-4522-9BB5-236A6C6DA2C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787158" y="3125396"/>
            <a:ext cx="2134532" cy="1457463"/>
          </a:xfrm>
          <a:solidFill>
            <a:srgbClr val="4D4D4D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Content Placeholder 3">
            <a:extLst>
              <a:ext uri="{FF2B5EF4-FFF2-40B4-BE49-F238E27FC236}">
                <a16:creationId xmlns:a16="http://schemas.microsoft.com/office/drawing/2014/main" id="{8639E75B-2B3B-453D-A5CE-4B15CE535425}"/>
              </a:ext>
            </a:extLst>
          </p:cNvPr>
          <p:cNvSpPr>
            <a:spLocks noGrp="1"/>
          </p:cNvSpPr>
          <p:nvPr>
            <p:ph sz="quarter" idx="29"/>
          </p:nvPr>
        </p:nvSpPr>
        <p:spPr bwMode="gray">
          <a:xfrm>
            <a:off x="4160766" y="1376172"/>
            <a:ext cx="7754326" cy="1476762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3" name="Content Placeholder 3">
            <a:extLst>
              <a:ext uri="{FF2B5EF4-FFF2-40B4-BE49-F238E27FC236}">
                <a16:creationId xmlns:a16="http://schemas.microsoft.com/office/drawing/2014/main" id="{3F549D67-9CCF-403B-9844-74DA91D73AD4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4160766" y="3125397"/>
            <a:ext cx="7754326" cy="1457464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4" name="Content Placeholder 3">
            <a:extLst>
              <a:ext uri="{FF2B5EF4-FFF2-40B4-BE49-F238E27FC236}">
                <a16:creationId xmlns:a16="http://schemas.microsoft.com/office/drawing/2014/main" id="{5764BC31-84F6-4F9C-950F-1DB463181F61}"/>
              </a:ext>
            </a:extLst>
          </p:cNvPr>
          <p:cNvSpPr>
            <a:spLocks noGrp="1"/>
          </p:cNvSpPr>
          <p:nvPr>
            <p:ph sz="quarter" idx="31"/>
          </p:nvPr>
        </p:nvSpPr>
        <p:spPr bwMode="gray">
          <a:xfrm>
            <a:off x="4160766" y="4887774"/>
            <a:ext cx="7754326" cy="1457464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5" name="Content Placeholder 6">
            <a:extLst>
              <a:ext uri="{FF2B5EF4-FFF2-40B4-BE49-F238E27FC236}">
                <a16:creationId xmlns:a16="http://schemas.microsoft.com/office/drawing/2014/main" id="{241EB6F0-A5E9-49D0-9344-731EBEC9A4F8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263526" y="1376363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/>
              <a:t>0</a:t>
            </a:r>
            <a:r>
              <a:rPr lang="pl-PL"/>
              <a:t>1</a:t>
            </a:r>
            <a:r>
              <a:rPr lang="en-US"/>
              <a:t>.</a:t>
            </a:r>
            <a:endParaRPr lang="en-GB"/>
          </a:p>
        </p:txBody>
      </p:sp>
      <p:sp>
        <p:nvSpPr>
          <p:cNvPr id="56" name="Content Placeholder 6">
            <a:extLst>
              <a:ext uri="{FF2B5EF4-FFF2-40B4-BE49-F238E27FC236}">
                <a16:creationId xmlns:a16="http://schemas.microsoft.com/office/drawing/2014/main" id="{35D6B1E9-843A-44D2-9E4F-5AA45F978A8E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276908" y="3132069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rgbClr val="4D4D4D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/>
              <a:t>0</a:t>
            </a:r>
            <a:r>
              <a:rPr lang="pl-PL"/>
              <a:t>2</a:t>
            </a:r>
            <a:r>
              <a:rPr lang="en-US"/>
              <a:t>.</a:t>
            </a:r>
            <a:endParaRPr lang="en-GB"/>
          </a:p>
        </p:txBody>
      </p:sp>
      <p:sp>
        <p:nvSpPr>
          <p:cNvPr id="57" name="Content Placeholder 6">
            <a:extLst>
              <a:ext uri="{FF2B5EF4-FFF2-40B4-BE49-F238E27FC236}">
                <a16:creationId xmlns:a16="http://schemas.microsoft.com/office/drawing/2014/main" id="{8EA1DB4F-027D-4DCE-81D8-A7E251902E5A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276908" y="4887774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rgbClr val="B3B3B3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/>
              <a:t>0</a:t>
            </a:r>
            <a:r>
              <a:rPr lang="pl-PL"/>
              <a:t>3</a:t>
            </a:r>
            <a:r>
              <a:rPr lang="en-US"/>
              <a:t>.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03C7F9-F2C0-4B89-AFD9-9B6659A7406F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F66301D0-3E1E-4551-B9DA-012B69A86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00763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Content (3) &amp; Numbers (3) &amp; Box (1.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D66D41FB-EBBB-45E5-AA8A-76C72AEA443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1787157" y="4303084"/>
            <a:ext cx="2134531" cy="1294301"/>
          </a:xfrm>
          <a:solidFill>
            <a:srgbClr val="B3B3B3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8EDA41C2-2290-499E-8ACE-371016FB2DD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787157" y="1376172"/>
            <a:ext cx="2134533" cy="1311439"/>
          </a:xfrm>
          <a:solidFill>
            <a:schemeClr val="tx2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B9761349-0BC1-4522-9BB5-236A6C6DA2C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787158" y="2863929"/>
            <a:ext cx="2134532" cy="1294300"/>
          </a:xfrm>
          <a:solidFill>
            <a:srgbClr val="4D4D4D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Content Placeholder 3">
            <a:extLst>
              <a:ext uri="{FF2B5EF4-FFF2-40B4-BE49-F238E27FC236}">
                <a16:creationId xmlns:a16="http://schemas.microsoft.com/office/drawing/2014/main" id="{8639E75B-2B3B-453D-A5CE-4B15CE535425}"/>
              </a:ext>
            </a:extLst>
          </p:cNvPr>
          <p:cNvSpPr>
            <a:spLocks noGrp="1"/>
          </p:cNvSpPr>
          <p:nvPr>
            <p:ph sz="quarter" idx="29"/>
          </p:nvPr>
        </p:nvSpPr>
        <p:spPr bwMode="gray">
          <a:xfrm>
            <a:off x="4160766" y="1376172"/>
            <a:ext cx="7754326" cy="1311439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3" name="Content Placeholder 3">
            <a:extLst>
              <a:ext uri="{FF2B5EF4-FFF2-40B4-BE49-F238E27FC236}">
                <a16:creationId xmlns:a16="http://schemas.microsoft.com/office/drawing/2014/main" id="{3F549D67-9CCF-403B-9844-74DA91D73AD4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4160766" y="2863928"/>
            <a:ext cx="7754326" cy="1294301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4" name="Content Placeholder 3">
            <a:extLst>
              <a:ext uri="{FF2B5EF4-FFF2-40B4-BE49-F238E27FC236}">
                <a16:creationId xmlns:a16="http://schemas.microsoft.com/office/drawing/2014/main" id="{5764BC31-84F6-4F9C-950F-1DB463181F61}"/>
              </a:ext>
            </a:extLst>
          </p:cNvPr>
          <p:cNvSpPr>
            <a:spLocks noGrp="1"/>
          </p:cNvSpPr>
          <p:nvPr>
            <p:ph sz="quarter" idx="31"/>
          </p:nvPr>
        </p:nvSpPr>
        <p:spPr bwMode="gray">
          <a:xfrm>
            <a:off x="4160766" y="4303084"/>
            <a:ext cx="7754326" cy="1294301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5" name="Content Placeholder 6">
            <a:extLst>
              <a:ext uri="{FF2B5EF4-FFF2-40B4-BE49-F238E27FC236}">
                <a16:creationId xmlns:a16="http://schemas.microsoft.com/office/drawing/2014/main" id="{241EB6F0-A5E9-49D0-9344-731EBEC9A4F8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263526" y="1376363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/>
              <a:t>0</a:t>
            </a:r>
            <a:r>
              <a:rPr lang="pl-PL"/>
              <a:t>1</a:t>
            </a:r>
            <a:r>
              <a:rPr lang="en-US"/>
              <a:t>.</a:t>
            </a:r>
            <a:endParaRPr lang="en-GB"/>
          </a:p>
        </p:txBody>
      </p:sp>
      <p:sp>
        <p:nvSpPr>
          <p:cNvPr id="56" name="Content Placeholder 6">
            <a:extLst>
              <a:ext uri="{FF2B5EF4-FFF2-40B4-BE49-F238E27FC236}">
                <a16:creationId xmlns:a16="http://schemas.microsoft.com/office/drawing/2014/main" id="{35D6B1E9-843A-44D2-9E4F-5AA45F978A8E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276908" y="2863928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rgbClr val="4D4D4D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/>
              <a:t>0</a:t>
            </a:r>
            <a:r>
              <a:rPr lang="pl-PL"/>
              <a:t>2</a:t>
            </a:r>
            <a:r>
              <a:rPr lang="en-US"/>
              <a:t>.</a:t>
            </a:r>
            <a:endParaRPr lang="en-GB"/>
          </a:p>
        </p:txBody>
      </p:sp>
      <p:sp>
        <p:nvSpPr>
          <p:cNvPr id="57" name="Content Placeholder 6">
            <a:extLst>
              <a:ext uri="{FF2B5EF4-FFF2-40B4-BE49-F238E27FC236}">
                <a16:creationId xmlns:a16="http://schemas.microsoft.com/office/drawing/2014/main" id="{8EA1DB4F-027D-4DCE-81D8-A7E251902E5A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276908" y="4303084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rgbClr val="B3B3B3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/>
              <a:t>0</a:t>
            </a:r>
            <a:r>
              <a:rPr lang="pl-PL"/>
              <a:t>3</a:t>
            </a:r>
            <a:r>
              <a:rPr lang="en-US"/>
              <a:t>.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D3D5E6C0-AC7A-4306-8846-16E5BB9FA9E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1FB1E0-9A33-4316-976D-4A3580575DA7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CB48DD37-A091-48B5-B39F-E7F2649526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0263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9C59FB2E-26EE-4C62-96FC-DAC9216CD4A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5" y="4887774"/>
            <a:ext cx="2952153" cy="1457464"/>
          </a:xfrm>
          <a:solidFill>
            <a:srgbClr val="B3B3B3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E2E51721-D2A7-43F7-AE5D-32351049CC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263525" y="1376172"/>
            <a:ext cx="2952156" cy="1476762"/>
          </a:xfrm>
          <a:solidFill>
            <a:schemeClr val="tx2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3119F755-6EE0-4D98-8C45-43092D7CA7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263523" y="3141623"/>
            <a:ext cx="2952155" cy="1457463"/>
          </a:xfrm>
          <a:solidFill>
            <a:srgbClr val="4D4D4D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Content Placeholder 3">
            <a:extLst>
              <a:ext uri="{FF2B5EF4-FFF2-40B4-BE49-F238E27FC236}">
                <a16:creationId xmlns:a16="http://schemas.microsoft.com/office/drawing/2014/main" id="{8409A613-09A4-42FF-A74A-7A69B8896E14}"/>
              </a:ext>
            </a:extLst>
          </p:cNvPr>
          <p:cNvSpPr>
            <a:spLocks noGrp="1"/>
          </p:cNvSpPr>
          <p:nvPr>
            <p:ph sz="quarter" idx="29"/>
          </p:nvPr>
        </p:nvSpPr>
        <p:spPr bwMode="gray">
          <a:xfrm>
            <a:off x="3211201" y="1376172"/>
            <a:ext cx="4385354" cy="1476762"/>
          </a:xfrm>
          <a:solidFill>
            <a:srgbClr val="D9D9D9"/>
          </a:solidFill>
        </p:spPr>
        <p:txBody>
          <a:bodyPr lIns="108000" tIns="108000" rIns="108000" bIns="108000"/>
          <a:lstStyle>
            <a:lvl1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004768D5-0EB9-4F5E-BAF5-E0A18FAD9394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3211200" y="3141622"/>
            <a:ext cx="4385355" cy="1457464"/>
          </a:xfrm>
          <a:solidFill>
            <a:srgbClr val="D9D9D9"/>
          </a:solidFill>
        </p:spPr>
        <p:txBody>
          <a:bodyPr lIns="108000" tIns="108000" rIns="108000" bIns="108000"/>
          <a:lstStyle>
            <a:lvl1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3">
            <a:extLst>
              <a:ext uri="{FF2B5EF4-FFF2-40B4-BE49-F238E27FC236}">
                <a16:creationId xmlns:a16="http://schemas.microsoft.com/office/drawing/2014/main" id="{B5A965DB-21DC-41B0-8898-D546D54A6055}"/>
              </a:ext>
            </a:extLst>
          </p:cNvPr>
          <p:cNvSpPr>
            <a:spLocks noGrp="1"/>
          </p:cNvSpPr>
          <p:nvPr>
            <p:ph sz="quarter" idx="31"/>
          </p:nvPr>
        </p:nvSpPr>
        <p:spPr bwMode="gray">
          <a:xfrm>
            <a:off x="3211200" y="4887774"/>
            <a:ext cx="4385355" cy="1457464"/>
          </a:xfrm>
          <a:solidFill>
            <a:srgbClr val="D9D9D9"/>
          </a:solidFill>
        </p:spPr>
        <p:txBody>
          <a:bodyPr lIns="108000" tIns="108000" rIns="108000" bIns="108000"/>
          <a:lstStyle>
            <a:lvl1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38ECCDC7-B909-4B40-A194-391D7E56A217}"/>
              </a:ext>
            </a:extLst>
          </p:cNvPr>
          <p:cNvSpPr>
            <a:spLocks noGrp="1"/>
          </p:cNvSpPr>
          <p:nvPr>
            <p:ph sz="quarter" idx="32"/>
          </p:nvPr>
        </p:nvSpPr>
        <p:spPr bwMode="gray">
          <a:xfrm>
            <a:off x="7835633" y="1376172"/>
            <a:ext cx="4092842" cy="1476762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Content Placeholder 3">
            <a:extLst>
              <a:ext uri="{FF2B5EF4-FFF2-40B4-BE49-F238E27FC236}">
                <a16:creationId xmlns:a16="http://schemas.microsoft.com/office/drawing/2014/main" id="{7FB68AC9-1A7B-4F55-BA72-C65F9F7C17C8}"/>
              </a:ext>
            </a:extLst>
          </p:cNvPr>
          <p:cNvSpPr>
            <a:spLocks noGrp="1"/>
          </p:cNvSpPr>
          <p:nvPr>
            <p:ph sz="quarter" idx="33"/>
          </p:nvPr>
        </p:nvSpPr>
        <p:spPr bwMode="gray">
          <a:xfrm>
            <a:off x="7835632" y="3141622"/>
            <a:ext cx="4092843" cy="1457464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35D02AC1-EF4A-4AA3-A0CC-FB54DCBC60CA}"/>
              </a:ext>
            </a:extLst>
          </p:cNvPr>
          <p:cNvSpPr>
            <a:spLocks noGrp="1"/>
          </p:cNvSpPr>
          <p:nvPr>
            <p:ph sz="quarter" idx="34"/>
          </p:nvPr>
        </p:nvSpPr>
        <p:spPr bwMode="gray">
          <a:xfrm>
            <a:off x="7835632" y="4887774"/>
            <a:ext cx="4092843" cy="1457464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FBF9A3-4A2F-4768-B67B-D40335DD59D7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4CA2F72E-FF47-4AEA-80EF-04E3A69680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67780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9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9C59FB2E-26EE-4C62-96FC-DAC9216CD4A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5" y="4398803"/>
            <a:ext cx="2952153" cy="1208528"/>
          </a:xfrm>
          <a:solidFill>
            <a:srgbClr val="B3B3B3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E2E51721-D2A7-43F7-AE5D-32351049CC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263525" y="1376172"/>
            <a:ext cx="2952156" cy="1224530"/>
          </a:xfrm>
          <a:solidFill>
            <a:schemeClr val="tx2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3119F755-6EE0-4D98-8C45-43092D7CA7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263523" y="2895489"/>
            <a:ext cx="2952155" cy="1208527"/>
          </a:xfrm>
          <a:solidFill>
            <a:srgbClr val="4D4D4D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Content Placeholder 3">
            <a:extLst>
              <a:ext uri="{FF2B5EF4-FFF2-40B4-BE49-F238E27FC236}">
                <a16:creationId xmlns:a16="http://schemas.microsoft.com/office/drawing/2014/main" id="{8409A613-09A4-42FF-A74A-7A69B8896E14}"/>
              </a:ext>
            </a:extLst>
          </p:cNvPr>
          <p:cNvSpPr>
            <a:spLocks noGrp="1"/>
          </p:cNvSpPr>
          <p:nvPr>
            <p:ph sz="quarter" idx="29"/>
          </p:nvPr>
        </p:nvSpPr>
        <p:spPr bwMode="gray">
          <a:xfrm>
            <a:off x="3211201" y="1376172"/>
            <a:ext cx="4385354" cy="1224530"/>
          </a:xfrm>
          <a:solidFill>
            <a:srgbClr val="D9D9D9"/>
          </a:solidFill>
        </p:spPr>
        <p:txBody>
          <a:bodyPr lIns="108000" tIns="108000" rIns="108000" bIns="108000"/>
          <a:lstStyle>
            <a:lvl1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004768D5-0EB9-4F5E-BAF5-E0A18FAD9394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3211200" y="2895488"/>
            <a:ext cx="4385355" cy="1208528"/>
          </a:xfrm>
          <a:solidFill>
            <a:srgbClr val="D9D9D9"/>
          </a:solidFill>
        </p:spPr>
        <p:txBody>
          <a:bodyPr lIns="108000" tIns="108000" rIns="108000" bIns="108000"/>
          <a:lstStyle>
            <a:lvl1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3">
            <a:extLst>
              <a:ext uri="{FF2B5EF4-FFF2-40B4-BE49-F238E27FC236}">
                <a16:creationId xmlns:a16="http://schemas.microsoft.com/office/drawing/2014/main" id="{B5A965DB-21DC-41B0-8898-D546D54A6055}"/>
              </a:ext>
            </a:extLst>
          </p:cNvPr>
          <p:cNvSpPr>
            <a:spLocks noGrp="1"/>
          </p:cNvSpPr>
          <p:nvPr>
            <p:ph sz="quarter" idx="31"/>
          </p:nvPr>
        </p:nvSpPr>
        <p:spPr bwMode="gray">
          <a:xfrm>
            <a:off x="3211200" y="4398803"/>
            <a:ext cx="4385355" cy="1208528"/>
          </a:xfrm>
          <a:solidFill>
            <a:srgbClr val="D9D9D9"/>
          </a:solidFill>
        </p:spPr>
        <p:txBody>
          <a:bodyPr lIns="108000" tIns="108000" rIns="108000" bIns="108000"/>
          <a:lstStyle>
            <a:lvl1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38ECCDC7-B909-4B40-A194-391D7E56A217}"/>
              </a:ext>
            </a:extLst>
          </p:cNvPr>
          <p:cNvSpPr>
            <a:spLocks noGrp="1"/>
          </p:cNvSpPr>
          <p:nvPr>
            <p:ph sz="quarter" idx="32"/>
          </p:nvPr>
        </p:nvSpPr>
        <p:spPr bwMode="gray">
          <a:xfrm>
            <a:off x="7835633" y="1376172"/>
            <a:ext cx="4092842" cy="1224530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Content Placeholder 3">
            <a:extLst>
              <a:ext uri="{FF2B5EF4-FFF2-40B4-BE49-F238E27FC236}">
                <a16:creationId xmlns:a16="http://schemas.microsoft.com/office/drawing/2014/main" id="{7FB68AC9-1A7B-4F55-BA72-C65F9F7C17C8}"/>
              </a:ext>
            </a:extLst>
          </p:cNvPr>
          <p:cNvSpPr>
            <a:spLocks noGrp="1"/>
          </p:cNvSpPr>
          <p:nvPr>
            <p:ph sz="quarter" idx="33"/>
          </p:nvPr>
        </p:nvSpPr>
        <p:spPr bwMode="gray">
          <a:xfrm>
            <a:off x="7835632" y="2895488"/>
            <a:ext cx="4092843" cy="120852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35D02AC1-EF4A-4AA3-A0CC-FB54DCBC60CA}"/>
              </a:ext>
            </a:extLst>
          </p:cNvPr>
          <p:cNvSpPr>
            <a:spLocks noGrp="1"/>
          </p:cNvSpPr>
          <p:nvPr>
            <p:ph sz="quarter" idx="34"/>
          </p:nvPr>
        </p:nvSpPr>
        <p:spPr bwMode="gray">
          <a:xfrm>
            <a:off x="7835632" y="4398803"/>
            <a:ext cx="4092843" cy="120852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7DC377B2-C877-4C10-9582-0E24CE80BE4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4A342E-E498-4DD7-A1EB-71A045B7E387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1C9DF303-8EEC-4D9E-8083-582D7E6932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90516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9) &amp; Box (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9C59FB2E-26EE-4C62-96FC-DAC9216CD4A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5" y="4398803"/>
            <a:ext cx="2952153" cy="1208528"/>
          </a:xfrm>
          <a:solidFill>
            <a:srgbClr val="B3B3B3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E2E51721-D2A7-43F7-AE5D-32351049CC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263525" y="1376172"/>
            <a:ext cx="2952156" cy="1224530"/>
          </a:xfrm>
          <a:solidFill>
            <a:schemeClr val="tx2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3119F755-6EE0-4D98-8C45-43092D7CA7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263523" y="2895489"/>
            <a:ext cx="2952155" cy="1208527"/>
          </a:xfrm>
          <a:solidFill>
            <a:srgbClr val="4D4D4D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Content Placeholder 3">
            <a:extLst>
              <a:ext uri="{FF2B5EF4-FFF2-40B4-BE49-F238E27FC236}">
                <a16:creationId xmlns:a16="http://schemas.microsoft.com/office/drawing/2014/main" id="{8409A613-09A4-42FF-A74A-7A69B8896E14}"/>
              </a:ext>
            </a:extLst>
          </p:cNvPr>
          <p:cNvSpPr>
            <a:spLocks noGrp="1"/>
          </p:cNvSpPr>
          <p:nvPr>
            <p:ph sz="quarter" idx="29"/>
          </p:nvPr>
        </p:nvSpPr>
        <p:spPr bwMode="gray">
          <a:xfrm>
            <a:off x="3211201" y="1376172"/>
            <a:ext cx="4385354" cy="1224530"/>
          </a:xfrm>
          <a:solidFill>
            <a:srgbClr val="D9D9D9"/>
          </a:solidFill>
        </p:spPr>
        <p:txBody>
          <a:bodyPr lIns="108000" tIns="108000" rIns="108000" bIns="108000"/>
          <a:lstStyle>
            <a:lvl1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004768D5-0EB9-4F5E-BAF5-E0A18FAD9394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3211200" y="2895489"/>
            <a:ext cx="4385355" cy="1208528"/>
          </a:xfrm>
          <a:solidFill>
            <a:srgbClr val="D9D9D9"/>
          </a:solidFill>
        </p:spPr>
        <p:txBody>
          <a:bodyPr lIns="108000" tIns="108000" rIns="108000" bIns="108000"/>
          <a:lstStyle>
            <a:lvl1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3">
            <a:extLst>
              <a:ext uri="{FF2B5EF4-FFF2-40B4-BE49-F238E27FC236}">
                <a16:creationId xmlns:a16="http://schemas.microsoft.com/office/drawing/2014/main" id="{B5A965DB-21DC-41B0-8898-D546D54A6055}"/>
              </a:ext>
            </a:extLst>
          </p:cNvPr>
          <p:cNvSpPr>
            <a:spLocks noGrp="1"/>
          </p:cNvSpPr>
          <p:nvPr>
            <p:ph sz="quarter" idx="31"/>
          </p:nvPr>
        </p:nvSpPr>
        <p:spPr bwMode="gray">
          <a:xfrm>
            <a:off x="3211200" y="4398803"/>
            <a:ext cx="4385355" cy="1208528"/>
          </a:xfrm>
          <a:solidFill>
            <a:srgbClr val="D9D9D9"/>
          </a:solidFill>
        </p:spPr>
        <p:txBody>
          <a:bodyPr lIns="108000" tIns="108000" rIns="108000" bIns="108000"/>
          <a:lstStyle>
            <a:lvl1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38ECCDC7-B909-4B40-A194-391D7E56A217}"/>
              </a:ext>
            </a:extLst>
          </p:cNvPr>
          <p:cNvSpPr>
            <a:spLocks noGrp="1"/>
          </p:cNvSpPr>
          <p:nvPr>
            <p:ph sz="quarter" idx="32"/>
          </p:nvPr>
        </p:nvSpPr>
        <p:spPr bwMode="gray">
          <a:xfrm>
            <a:off x="7835633" y="1376172"/>
            <a:ext cx="4092842" cy="1224530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Content Placeholder 3">
            <a:extLst>
              <a:ext uri="{FF2B5EF4-FFF2-40B4-BE49-F238E27FC236}">
                <a16:creationId xmlns:a16="http://schemas.microsoft.com/office/drawing/2014/main" id="{7FB68AC9-1A7B-4F55-BA72-C65F9F7C17C8}"/>
              </a:ext>
            </a:extLst>
          </p:cNvPr>
          <p:cNvSpPr>
            <a:spLocks noGrp="1"/>
          </p:cNvSpPr>
          <p:nvPr>
            <p:ph sz="quarter" idx="33"/>
          </p:nvPr>
        </p:nvSpPr>
        <p:spPr bwMode="gray">
          <a:xfrm>
            <a:off x="7835632" y="2895488"/>
            <a:ext cx="4092843" cy="120852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35D02AC1-EF4A-4AA3-A0CC-FB54DCBC60CA}"/>
              </a:ext>
            </a:extLst>
          </p:cNvPr>
          <p:cNvSpPr>
            <a:spLocks noGrp="1"/>
          </p:cNvSpPr>
          <p:nvPr>
            <p:ph sz="quarter" idx="34"/>
          </p:nvPr>
        </p:nvSpPr>
        <p:spPr bwMode="gray">
          <a:xfrm>
            <a:off x="7835632" y="4398803"/>
            <a:ext cx="4092843" cy="120852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7DC377B2-C877-4C10-9582-0E24CE80BE4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 bwMode="gray">
          <a:xfrm>
            <a:off x="0" y="5805264"/>
            <a:ext cx="12192000" cy="539974"/>
          </a:xfrm>
          <a:solidFill>
            <a:schemeClr val="tx2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5FBDD5-5B50-432C-8F8B-7EA0EF44A2F2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CCBC895B-E647-494D-9464-D05F3FBC5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97899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- Brighter Picture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F863E3D-E8C6-4587-A9FE-547D1D37E58C}"/>
              </a:ext>
            </a:extLst>
          </p:cNvPr>
          <p:cNvSpPr/>
          <p:nvPr userDrawn="1"/>
        </p:nvSpPr>
        <p:spPr>
          <a:xfrm>
            <a:off x="9099329" y="344152"/>
            <a:ext cx="2830711" cy="103221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GB" sz="1400" err="1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B87F6C0-6A0D-49A9-B92D-47AC66E82F62}"/>
              </a:ext>
            </a:extLst>
          </p:cNvPr>
          <p:cNvSpPr/>
          <p:nvPr userDrawn="1"/>
        </p:nvSpPr>
        <p:spPr>
          <a:xfrm rot="20700000">
            <a:off x="11630945" y="891479"/>
            <a:ext cx="125787" cy="6268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GB" sz="1400" err="1">
              <a:solidFill>
                <a:schemeClr val="tx1"/>
              </a:solidFill>
            </a:endParaRP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7B060B46-A36B-42A8-BC2B-4D51C11E5CF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" y="4"/>
            <a:ext cx="12193196" cy="4738686"/>
          </a:xfrm>
          <a:custGeom>
            <a:avLst/>
            <a:gdLst>
              <a:gd name="connsiteX0" fmla="*/ 9943716 w 12193196"/>
              <a:gd name="connsiteY0" fmla="*/ 1018573 h 4738686"/>
              <a:gd name="connsiteX1" fmla="*/ 9943716 w 12193196"/>
              <a:gd name="connsiteY1" fmla="*/ 1018583 h 4738686"/>
              <a:gd name="connsiteX2" fmla="*/ 9972804 w 12193196"/>
              <a:gd name="connsiteY2" fmla="*/ 1068171 h 4738686"/>
              <a:gd name="connsiteX3" fmla="*/ 9944107 w 12193196"/>
              <a:gd name="connsiteY3" fmla="*/ 1122040 h 4738686"/>
              <a:gd name="connsiteX4" fmla="*/ 9914039 w 12193196"/>
              <a:gd name="connsiteY4" fmla="*/ 1079406 h 4738686"/>
              <a:gd name="connsiteX5" fmla="*/ 9914039 w 12193196"/>
              <a:gd name="connsiteY5" fmla="*/ 1067545 h 4738686"/>
              <a:gd name="connsiteX6" fmla="*/ 9943716 w 12193196"/>
              <a:gd name="connsiteY6" fmla="*/ 1018573 h 4738686"/>
              <a:gd name="connsiteX7" fmla="*/ 11408435 w 12193196"/>
              <a:gd name="connsiteY7" fmla="*/ 1012941 h 4738686"/>
              <a:gd name="connsiteX8" fmla="*/ 11434684 w 12193196"/>
              <a:gd name="connsiteY8" fmla="*/ 1041128 h 4738686"/>
              <a:gd name="connsiteX9" fmla="*/ 11379836 w 12193196"/>
              <a:gd name="connsiteY9" fmla="*/ 1041128 h 4738686"/>
              <a:gd name="connsiteX10" fmla="*/ 11408435 w 12193196"/>
              <a:gd name="connsiteY10" fmla="*/ 1012941 h 4738686"/>
              <a:gd name="connsiteX11" fmla="*/ 10350271 w 12193196"/>
              <a:gd name="connsiteY11" fmla="*/ 1012834 h 4738686"/>
              <a:gd name="connsiteX12" fmla="*/ 10376618 w 12193196"/>
              <a:gd name="connsiteY12" fmla="*/ 1041021 h 4738686"/>
              <a:gd name="connsiteX13" fmla="*/ 10321770 w 12193196"/>
              <a:gd name="connsiteY13" fmla="*/ 1041021 h 4738686"/>
              <a:gd name="connsiteX14" fmla="*/ 10350271 w 12193196"/>
              <a:gd name="connsiteY14" fmla="*/ 1012834 h 4738686"/>
              <a:gd name="connsiteX15" fmla="*/ 10912556 w 12193196"/>
              <a:gd name="connsiteY15" fmla="*/ 1012833 h 4738686"/>
              <a:gd name="connsiteX16" fmla="*/ 10938805 w 12193196"/>
              <a:gd name="connsiteY16" fmla="*/ 1041021 h 4738686"/>
              <a:gd name="connsiteX17" fmla="*/ 10883957 w 12193196"/>
              <a:gd name="connsiteY17" fmla="*/ 1041021 h 4738686"/>
              <a:gd name="connsiteX18" fmla="*/ 10912556 w 12193196"/>
              <a:gd name="connsiteY18" fmla="*/ 1012833 h 4738686"/>
              <a:gd name="connsiteX19" fmla="*/ 11605397 w 12193196"/>
              <a:gd name="connsiteY19" fmla="*/ 1000835 h 4738686"/>
              <a:gd name="connsiteX20" fmla="*/ 11568179 w 12193196"/>
              <a:gd name="connsiteY20" fmla="*/ 1043841 h 4738686"/>
              <a:gd name="connsiteX21" fmla="*/ 11535270 w 12193196"/>
              <a:gd name="connsiteY21" fmla="*/ 1000923 h 4738686"/>
              <a:gd name="connsiteX22" fmla="*/ 11476897 w 12193196"/>
              <a:gd name="connsiteY22" fmla="*/ 1000923 h 4738686"/>
              <a:gd name="connsiteX23" fmla="*/ 11476897 w 12193196"/>
              <a:gd name="connsiteY23" fmla="*/ 1011922 h 4738686"/>
              <a:gd name="connsiteX24" fmla="*/ 11479443 w 12193196"/>
              <a:gd name="connsiteY24" fmla="*/ 1012079 h 4738686"/>
              <a:gd name="connsiteX25" fmla="*/ 11516074 w 12193196"/>
              <a:gd name="connsiteY25" fmla="*/ 1033136 h 4738686"/>
              <a:gd name="connsiteX26" fmla="*/ 11539971 w 12193196"/>
              <a:gd name="connsiteY26" fmla="*/ 1064899 h 4738686"/>
              <a:gd name="connsiteX27" fmla="*/ 11500893 w 12193196"/>
              <a:gd name="connsiteY27" fmla="*/ 1110021 h 4738686"/>
              <a:gd name="connsiteX28" fmla="*/ 11541245 w 12193196"/>
              <a:gd name="connsiteY28" fmla="*/ 1110021 h 4738686"/>
              <a:gd name="connsiteX29" fmla="*/ 11558776 w 12193196"/>
              <a:gd name="connsiteY29" fmla="*/ 1089874 h 4738686"/>
              <a:gd name="connsiteX30" fmla="*/ 11596386 w 12193196"/>
              <a:gd name="connsiteY30" fmla="*/ 1139824 h 4738686"/>
              <a:gd name="connsiteX31" fmla="*/ 11641635 w 12193196"/>
              <a:gd name="connsiteY31" fmla="*/ 1139824 h 4738686"/>
              <a:gd name="connsiteX32" fmla="*/ 11569942 w 12193196"/>
              <a:gd name="connsiteY32" fmla="*/ 1046192 h 4738686"/>
              <a:gd name="connsiteX33" fmla="*/ 11606474 w 12193196"/>
              <a:gd name="connsiteY33" fmla="*/ 1046221 h 4738686"/>
              <a:gd name="connsiteX34" fmla="*/ 11645651 w 12193196"/>
              <a:gd name="connsiteY34" fmla="*/ 1000835 h 4738686"/>
              <a:gd name="connsiteX35" fmla="*/ 11409709 w 12193196"/>
              <a:gd name="connsiteY35" fmla="*/ 997750 h 4738686"/>
              <a:gd name="connsiteX36" fmla="*/ 11338211 w 12193196"/>
              <a:gd name="connsiteY36" fmla="*/ 1065684 h 4738686"/>
              <a:gd name="connsiteX37" fmla="*/ 11421168 w 12193196"/>
              <a:gd name="connsiteY37" fmla="*/ 1143008 h 4738686"/>
              <a:gd name="connsiteX38" fmla="*/ 11467788 w 12193196"/>
              <a:gd name="connsiteY38" fmla="*/ 1135231 h 4738686"/>
              <a:gd name="connsiteX39" fmla="*/ 11470041 w 12193196"/>
              <a:gd name="connsiteY39" fmla="*/ 1134527 h 4738686"/>
              <a:gd name="connsiteX40" fmla="*/ 11470041 w 12193196"/>
              <a:gd name="connsiteY40" fmla="*/ 1116084 h 4738686"/>
              <a:gd name="connsiteX41" fmla="*/ 11466417 w 12193196"/>
              <a:gd name="connsiteY41" fmla="*/ 1117376 h 4738686"/>
              <a:gd name="connsiteX42" fmla="*/ 11436545 w 12193196"/>
              <a:gd name="connsiteY42" fmla="*/ 1122088 h 4738686"/>
              <a:gd name="connsiteX43" fmla="*/ 11379738 w 12193196"/>
              <a:gd name="connsiteY43" fmla="*/ 1058034 h 4738686"/>
              <a:gd name="connsiteX44" fmla="*/ 11472979 w 12193196"/>
              <a:gd name="connsiteY44" fmla="*/ 1058034 h 4738686"/>
              <a:gd name="connsiteX45" fmla="*/ 11472979 w 12193196"/>
              <a:gd name="connsiteY45" fmla="*/ 1055330 h 4738686"/>
              <a:gd name="connsiteX46" fmla="*/ 11409709 w 12193196"/>
              <a:gd name="connsiteY46" fmla="*/ 997750 h 4738686"/>
              <a:gd name="connsiteX47" fmla="*/ 9781426 w 12193196"/>
              <a:gd name="connsiteY47" fmla="*/ 997723 h 4738686"/>
              <a:gd name="connsiteX48" fmla="*/ 9724032 w 12193196"/>
              <a:gd name="connsiteY48" fmla="*/ 1038926 h 4738686"/>
              <a:gd name="connsiteX49" fmla="*/ 9765951 w 12193196"/>
              <a:gd name="connsiteY49" fmla="*/ 1082648 h 4738686"/>
              <a:gd name="connsiteX50" fmla="*/ 9795725 w 12193196"/>
              <a:gd name="connsiteY50" fmla="*/ 1108378 h 4738686"/>
              <a:gd name="connsiteX51" fmla="*/ 9770261 w 12193196"/>
              <a:gd name="connsiteY51" fmla="*/ 1124901 h 4738686"/>
              <a:gd name="connsiteX52" fmla="*/ 9728439 w 12193196"/>
              <a:gd name="connsiteY52" fmla="*/ 1110376 h 4738686"/>
              <a:gd name="connsiteX53" fmla="*/ 9724326 w 12193196"/>
              <a:gd name="connsiteY53" fmla="*/ 1107888 h 4738686"/>
              <a:gd name="connsiteX54" fmla="*/ 9724326 w 12193196"/>
              <a:gd name="connsiteY54" fmla="*/ 1137271 h 4738686"/>
              <a:gd name="connsiteX55" fmla="*/ 9727166 w 12193196"/>
              <a:gd name="connsiteY55" fmla="*/ 1137888 h 4738686"/>
              <a:gd name="connsiteX56" fmla="*/ 9768987 w 12193196"/>
              <a:gd name="connsiteY56" fmla="*/ 1142971 h 4738686"/>
              <a:gd name="connsiteX57" fmla="*/ 9830593 w 12193196"/>
              <a:gd name="connsiteY57" fmla="*/ 1100631 h 4738686"/>
              <a:gd name="connsiteX58" fmla="*/ 9786911 w 12193196"/>
              <a:gd name="connsiteY58" fmla="*/ 1052913 h 4738686"/>
              <a:gd name="connsiteX59" fmla="*/ 9786911 w 12193196"/>
              <a:gd name="connsiteY59" fmla="*/ 1052884 h 4738686"/>
              <a:gd name="connsiteX60" fmla="*/ 9758899 w 12193196"/>
              <a:gd name="connsiteY60" fmla="*/ 1028779 h 4738686"/>
              <a:gd name="connsiteX61" fmla="*/ 9779075 w 12193196"/>
              <a:gd name="connsiteY61" fmla="*/ 1015714 h 4738686"/>
              <a:gd name="connsiteX62" fmla="*/ 9814824 w 12193196"/>
              <a:gd name="connsiteY62" fmla="*/ 1028006 h 4738686"/>
              <a:gd name="connsiteX63" fmla="*/ 9820799 w 12193196"/>
              <a:gd name="connsiteY63" fmla="*/ 1031649 h 4738686"/>
              <a:gd name="connsiteX64" fmla="*/ 9820799 w 12193196"/>
              <a:gd name="connsiteY64" fmla="*/ 1003079 h 4738686"/>
              <a:gd name="connsiteX65" fmla="*/ 9816097 w 12193196"/>
              <a:gd name="connsiteY65" fmla="*/ 1002101 h 4738686"/>
              <a:gd name="connsiteX66" fmla="*/ 9781426 w 12193196"/>
              <a:gd name="connsiteY66" fmla="*/ 997723 h 4738686"/>
              <a:gd name="connsiteX67" fmla="*/ 10913830 w 12193196"/>
              <a:gd name="connsiteY67" fmla="*/ 997682 h 4738686"/>
              <a:gd name="connsiteX68" fmla="*/ 10842430 w 12193196"/>
              <a:gd name="connsiteY68" fmla="*/ 1065566 h 4738686"/>
              <a:gd name="connsiteX69" fmla="*/ 10925289 w 12193196"/>
              <a:gd name="connsiteY69" fmla="*/ 1142940 h 4738686"/>
              <a:gd name="connsiteX70" fmla="*/ 10971909 w 12193196"/>
              <a:gd name="connsiteY70" fmla="*/ 1135104 h 4738686"/>
              <a:gd name="connsiteX71" fmla="*/ 10974162 w 12193196"/>
              <a:gd name="connsiteY71" fmla="*/ 1134399 h 4738686"/>
              <a:gd name="connsiteX72" fmla="*/ 10974162 w 12193196"/>
              <a:gd name="connsiteY72" fmla="*/ 1115976 h 4738686"/>
              <a:gd name="connsiteX73" fmla="*/ 10970538 w 12193196"/>
              <a:gd name="connsiteY73" fmla="*/ 1117289 h 4738686"/>
              <a:gd name="connsiteX74" fmla="*/ 10940666 w 12193196"/>
              <a:gd name="connsiteY74" fmla="*/ 1122000 h 4738686"/>
              <a:gd name="connsiteX75" fmla="*/ 10883957 w 12193196"/>
              <a:gd name="connsiteY75" fmla="*/ 1057926 h 4738686"/>
              <a:gd name="connsiteX76" fmla="*/ 10977100 w 12193196"/>
              <a:gd name="connsiteY76" fmla="*/ 1057926 h 4738686"/>
              <a:gd name="connsiteX77" fmla="*/ 10977100 w 12193196"/>
              <a:gd name="connsiteY77" fmla="*/ 1055242 h 4738686"/>
              <a:gd name="connsiteX78" fmla="*/ 10913830 w 12193196"/>
              <a:gd name="connsiteY78" fmla="*/ 997682 h 4738686"/>
              <a:gd name="connsiteX79" fmla="*/ 10351643 w 12193196"/>
              <a:gd name="connsiteY79" fmla="*/ 997682 h 4738686"/>
              <a:gd name="connsiteX80" fmla="*/ 10280145 w 12193196"/>
              <a:gd name="connsiteY80" fmla="*/ 1065566 h 4738686"/>
              <a:gd name="connsiteX81" fmla="*/ 10363102 w 12193196"/>
              <a:gd name="connsiteY81" fmla="*/ 1142940 h 4738686"/>
              <a:gd name="connsiteX82" fmla="*/ 10409722 w 12193196"/>
              <a:gd name="connsiteY82" fmla="*/ 1135104 h 4738686"/>
              <a:gd name="connsiteX83" fmla="*/ 10411975 w 12193196"/>
              <a:gd name="connsiteY83" fmla="*/ 1134399 h 4738686"/>
              <a:gd name="connsiteX84" fmla="*/ 10411975 w 12193196"/>
              <a:gd name="connsiteY84" fmla="*/ 1115976 h 4738686"/>
              <a:gd name="connsiteX85" fmla="*/ 10408351 w 12193196"/>
              <a:gd name="connsiteY85" fmla="*/ 1117289 h 4738686"/>
              <a:gd name="connsiteX86" fmla="*/ 10378479 w 12193196"/>
              <a:gd name="connsiteY86" fmla="*/ 1122000 h 4738686"/>
              <a:gd name="connsiteX87" fmla="*/ 10321672 w 12193196"/>
              <a:gd name="connsiteY87" fmla="*/ 1057926 h 4738686"/>
              <a:gd name="connsiteX88" fmla="*/ 10414913 w 12193196"/>
              <a:gd name="connsiteY88" fmla="*/ 1057926 h 4738686"/>
              <a:gd name="connsiteX89" fmla="*/ 10414913 w 12193196"/>
              <a:gd name="connsiteY89" fmla="*/ 1055242 h 4738686"/>
              <a:gd name="connsiteX90" fmla="*/ 10351643 w 12193196"/>
              <a:gd name="connsiteY90" fmla="*/ 997682 h 4738686"/>
              <a:gd name="connsiteX91" fmla="*/ 10104241 w 12193196"/>
              <a:gd name="connsiteY91" fmla="*/ 997212 h 4738686"/>
              <a:gd name="connsiteX92" fmla="*/ 10101107 w 12193196"/>
              <a:gd name="connsiteY92" fmla="*/ 997702 h 4738686"/>
              <a:gd name="connsiteX93" fmla="*/ 10040873 w 12193196"/>
              <a:gd name="connsiteY93" fmla="*/ 1007280 h 4738686"/>
              <a:gd name="connsiteX94" fmla="*/ 10040873 w 12193196"/>
              <a:gd name="connsiteY94" fmla="*/ 1017937 h 4738686"/>
              <a:gd name="connsiteX95" fmla="*/ 10043517 w 12193196"/>
              <a:gd name="connsiteY95" fmla="*/ 1018005 h 4738686"/>
              <a:gd name="connsiteX96" fmla="*/ 10066142 w 12193196"/>
              <a:gd name="connsiteY96" fmla="*/ 1040865 h 4738686"/>
              <a:gd name="connsiteX97" fmla="*/ 10066142 w 12193196"/>
              <a:gd name="connsiteY97" fmla="*/ 1139787 h 4738686"/>
              <a:gd name="connsiteX98" fmla="*/ 10104241 w 12193196"/>
              <a:gd name="connsiteY98" fmla="*/ 1139787 h 4738686"/>
              <a:gd name="connsiteX99" fmla="*/ 9914333 w 12193196"/>
              <a:gd name="connsiteY99" fmla="*/ 997212 h 4738686"/>
              <a:gd name="connsiteX100" fmla="*/ 9911199 w 12193196"/>
              <a:gd name="connsiteY100" fmla="*/ 997703 h 4738686"/>
              <a:gd name="connsiteX101" fmla="*/ 9850377 w 12193196"/>
              <a:gd name="connsiteY101" fmla="*/ 1007280 h 4738686"/>
              <a:gd name="connsiteX102" fmla="*/ 9850377 w 12193196"/>
              <a:gd name="connsiteY102" fmla="*/ 1017937 h 4738686"/>
              <a:gd name="connsiteX103" fmla="*/ 9853021 w 12193196"/>
              <a:gd name="connsiteY103" fmla="*/ 1018005 h 4738686"/>
              <a:gd name="connsiteX104" fmla="*/ 9875940 w 12193196"/>
              <a:gd name="connsiteY104" fmla="*/ 1040865 h 4738686"/>
              <a:gd name="connsiteX105" fmla="*/ 9875940 w 12193196"/>
              <a:gd name="connsiteY105" fmla="*/ 1198327 h 4738686"/>
              <a:gd name="connsiteX106" fmla="*/ 9914039 w 12193196"/>
              <a:gd name="connsiteY106" fmla="*/ 1198327 h 4738686"/>
              <a:gd name="connsiteX107" fmla="*/ 9914039 w 12193196"/>
              <a:gd name="connsiteY107" fmla="*/ 1126594 h 4738686"/>
              <a:gd name="connsiteX108" fmla="*/ 9953216 w 12193196"/>
              <a:gd name="connsiteY108" fmla="*/ 1142940 h 4738686"/>
              <a:gd name="connsiteX109" fmla="*/ 10014234 w 12193196"/>
              <a:gd name="connsiteY109" fmla="*/ 1068171 h 4738686"/>
              <a:gd name="connsiteX110" fmla="*/ 9954587 w 12193196"/>
              <a:gd name="connsiteY110" fmla="*/ 997654 h 4738686"/>
              <a:gd name="connsiteX111" fmla="*/ 9954587 w 12193196"/>
              <a:gd name="connsiteY111" fmla="*/ 997682 h 4738686"/>
              <a:gd name="connsiteX112" fmla="*/ 9914333 w 12193196"/>
              <a:gd name="connsiteY112" fmla="*/ 1017339 h 4738686"/>
              <a:gd name="connsiteX113" fmla="*/ 9585052 w 12193196"/>
              <a:gd name="connsiteY113" fmla="*/ 997212 h 4738686"/>
              <a:gd name="connsiteX114" fmla="*/ 9581918 w 12193196"/>
              <a:gd name="connsiteY114" fmla="*/ 997703 h 4738686"/>
              <a:gd name="connsiteX115" fmla="*/ 9520704 w 12193196"/>
              <a:gd name="connsiteY115" fmla="*/ 1007280 h 4738686"/>
              <a:gd name="connsiteX116" fmla="*/ 9520704 w 12193196"/>
              <a:gd name="connsiteY116" fmla="*/ 1017986 h 4738686"/>
              <a:gd name="connsiteX117" fmla="*/ 9523348 w 12193196"/>
              <a:gd name="connsiteY117" fmla="*/ 1017986 h 4738686"/>
              <a:gd name="connsiteX118" fmla="*/ 9546952 w 12193196"/>
              <a:gd name="connsiteY118" fmla="*/ 1040846 h 4738686"/>
              <a:gd name="connsiteX119" fmla="*/ 9546952 w 12193196"/>
              <a:gd name="connsiteY119" fmla="*/ 1139767 h 4738686"/>
              <a:gd name="connsiteX120" fmla="*/ 9585052 w 12193196"/>
              <a:gd name="connsiteY120" fmla="*/ 1139767 h 4738686"/>
              <a:gd name="connsiteX121" fmla="*/ 9585052 w 12193196"/>
              <a:gd name="connsiteY121" fmla="*/ 1066967 h 4738686"/>
              <a:gd name="connsiteX122" fmla="*/ 9622661 w 12193196"/>
              <a:gd name="connsiteY122" fmla="*/ 1022628 h 4738686"/>
              <a:gd name="connsiteX123" fmla="*/ 9641858 w 12193196"/>
              <a:gd name="connsiteY123" fmla="*/ 1062687 h 4738686"/>
              <a:gd name="connsiteX124" fmla="*/ 9641858 w 12193196"/>
              <a:gd name="connsiteY124" fmla="*/ 1139767 h 4738686"/>
              <a:gd name="connsiteX125" fmla="*/ 9680055 w 12193196"/>
              <a:gd name="connsiteY125" fmla="*/ 1139767 h 4738686"/>
              <a:gd name="connsiteX126" fmla="*/ 9680055 w 12193196"/>
              <a:gd name="connsiteY126" fmla="*/ 1040866 h 4738686"/>
              <a:gd name="connsiteX127" fmla="*/ 9637647 w 12193196"/>
              <a:gd name="connsiteY127" fmla="*/ 997682 h 4738686"/>
              <a:gd name="connsiteX128" fmla="*/ 9585052 w 12193196"/>
              <a:gd name="connsiteY128" fmla="*/ 1028230 h 4738686"/>
              <a:gd name="connsiteX129" fmla="*/ 10204730 w 12193196"/>
              <a:gd name="connsiteY129" fmla="*/ 997212 h 4738686"/>
              <a:gd name="connsiteX130" fmla="*/ 10201596 w 12193196"/>
              <a:gd name="connsiteY130" fmla="*/ 997702 h 4738686"/>
              <a:gd name="connsiteX131" fmla="*/ 10140774 w 12193196"/>
              <a:gd name="connsiteY131" fmla="*/ 1007280 h 4738686"/>
              <a:gd name="connsiteX132" fmla="*/ 10140774 w 12193196"/>
              <a:gd name="connsiteY132" fmla="*/ 1017985 h 4738686"/>
              <a:gd name="connsiteX133" fmla="*/ 10143418 w 12193196"/>
              <a:gd name="connsiteY133" fmla="*/ 1017985 h 4738686"/>
              <a:gd name="connsiteX134" fmla="*/ 10166631 w 12193196"/>
              <a:gd name="connsiteY134" fmla="*/ 1040845 h 4738686"/>
              <a:gd name="connsiteX135" fmla="*/ 10166631 w 12193196"/>
              <a:gd name="connsiteY135" fmla="*/ 1139766 h 4738686"/>
              <a:gd name="connsiteX136" fmla="*/ 10204730 w 12193196"/>
              <a:gd name="connsiteY136" fmla="*/ 1139766 h 4738686"/>
              <a:gd name="connsiteX137" fmla="*/ 10204730 w 12193196"/>
              <a:gd name="connsiteY137" fmla="*/ 1068455 h 4738686"/>
              <a:gd name="connsiteX138" fmla="*/ 10237749 w 12193196"/>
              <a:gd name="connsiteY138" fmla="*/ 1028396 h 4738686"/>
              <a:gd name="connsiteX139" fmla="*/ 10244592 w 12193196"/>
              <a:gd name="connsiteY139" fmla="*/ 1028377 h 4738686"/>
              <a:gd name="connsiteX140" fmla="*/ 10257815 w 12193196"/>
              <a:gd name="connsiteY140" fmla="*/ 1030933 h 4738686"/>
              <a:gd name="connsiteX141" fmla="*/ 10263985 w 12193196"/>
              <a:gd name="connsiteY141" fmla="*/ 1032667 h 4738686"/>
              <a:gd name="connsiteX142" fmla="*/ 10263985 w 12193196"/>
              <a:gd name="connsiteY142" fmla="*/ 1029112 h 4738686"/>
              <a:gd name="connsiteX143" fmla="*/ 10263985 w 12193196"/>
              <a:gd name="connsiteY143" fmla="*/ 999484 h 4738686"/>
              <a:gd name="connsiteX144" fmla="*/ 10261732 w 12193196"/>
              <a:gd name="connsiteY144" fmla="*/ 999141 h 4738686"/>
              <a:gd name="connsiteX145" fmla="*/ 10243613 w 12193196"/>
              <a:gd name="connsiteY145" fmla="*/ 997682 h 4738686"/>
              <a:gd name="connsiteX146" fmla="*/ 10204730 w 12193196"/>
              <a:gd name="connsiteY146" fmla="*/ 1025889 h 4738686"/>
              <a:gd name="connsiteX147" fmla="*/ 10548800 w 12193196"/>
              <a:gd name="connsiteY147" fmla="*/ 957712 h 4738686"/>
              <a:gd name="connsiteX148" fmla="*/ 10548800 w 12193196"/>
              <a:gd name="connsiteY148" fmla="*/ 1000943 h 4738686"/>
              <a:gd name="connsiteX149" fmla="*/ 10523237 w 12193196"/>
              <a:gd name="connsiteY149" fmla="*/ 1000943 h 4738686"/>
              <a:gd name="connsiteX150" fmla="*/ 10523237 w 12193196"/>
              <a:gd name="connsiteY150" fmla="*/ 1017828 h 4738686"/>
              <a:gd name="connsiteX151" fmla="*/ 10548800 w 12193196"/>
              <a:gd name="connsiteY151" fmla="*/ 1017828 h 4738686"/>
              <a:gd name="connsiteX152" fmla="*/ 10548800 w 12193196"/>
              <a:gd name="connsiteY152" fmla="*/ 1103283 h 4738686"/>
              <a:gd name="connsiteX153" fmla="*/ 10601199 w 12193196"/>
              <a:gd name="connsiteY153" fmla="*/ 1143028 h 4738686"/>
              <a:gd name="connsiteX154" fmla="*/ 10623627 w 12193196"/>
              <a:gd name="connsiteY154" fmla="*/ 1140697 h 4738686"/>
              <a:gd name="connsiteX155" fmla="*/ 10625880 w 12193196"/>
              <a:gd name="connsiteY155" fmla="*/ 1140364 h 4738686"/>
              <a:gd name="connsiteX156" fmla="*/ 10625880 w 12193196"/>
              <a:gd name="connsiteY156" fmla="*/ 1123146 h 4738686"/>
              <a:gd name="connsiteX157" fmla="*/ 10622648 w 12193196"/>
              <a:gd name="connsiteY157" fmla="*/ 1123880 h 4738686"/>
              <a:gd name="connsiteX158" fmla="*/ 10611091 w 12193196"/>
              <a:gd name="connsiteY158" fmla="*/ 1124977 h 4738686"/>
              <a:gd name="connsiteX159" fmla="*/ 10586899 w 12193196"/>
              <a:gd name="connsiteY159" fmla="*/ 1098690 h 4738686"/>
              <a:gd name="connsiteX160" fmla="*/ 10586899 w 12193196"/>
              <a:gd name="connsiteY160" fmla="*/ 1017809 h 4738686"/>
              <a:gd name="connsiteX161" fmla="*/ 10629798 w 12193196"/>
              <a:gd name="connsiteY161" fmla="*/ 1017809 h 4738686"/>
              <a:gd name="connsiteX162" fmla="*/ 10629798 w 12193196"/>
              <a:gd name="connsiteY162" fmla="*/ 1000923 h 4738686"/>
              <a:gd name="connsiteX163" fmla="*/ 10586899 w 12193196"/>
              <a:gd name="connsiteY163" fmla="*/ 1000923 h 4738686"/>
              <a:gd name="connsiteX164" fmla="*/ 10586899 w 12193196"/>
              <a:gd name="connsiteY164" fmla="*/ 957712 h 4738686"/>
              <a:gd name="connsiteX165" fmla="*/ 11683359 w 12193196"/>
              <a:gd name="connsiteY165" fmla="*/ 957623 h 4738686"/>
              <a:gd name="connsiteX166" fmla="*/ 11683359 w 12193196"/>
              <a:gd name="connsiteY166" fmla="*/ 1000923 h 4738686"/>
              <a:gd name="connsiteX167" fmla="*/ 11657796 w 12193196"/>
              <a:gd name="connsiteY167" fmla="*/ 1000923 h 4738686"/>
              <a:gd name="connsiteX168" fmla="*/ 11657796 w 12193196"/>
              <a:gd name="connsiteY168" fmla="*/ 1017808 h 4738686"/>
              <a:gd name="connsiteX169" fmla="*/ 11683359 w 12193196"/>
              <a:gd name="connsiteY169" fmla="*/ 1017808 h 4738686"/>
              <a:gd name="connsiteX170" fmla="*/ 11683359 w 12193196"/>
              <a:gd name="connsiteY170" fmla="*/ 1103263 h 4738686"/>
              <a:gd name="connsiteX171" fmla="*/ 11735758 w 12193196"/>
              <a:gd name="connsiteY171" fmla="*/ 1143007 h 4738686"/>
              <a:gd name="connsiteX172" fmla="*/ 11758089 w 12193196"/>
              <a:gd name="connsiteY172" fmla="*/ 1140676 h 4738686"/>
              <a:gd name="connsiteX173" fmla="*/ 11760439 w 12193196"/>
              <a:gd name="connsiteY173" fmla="*/ 1140343 h 4738686"/>
              <a:gd name="connsiteX174" fmla="*/ 11760439 w 12193196"/>
              <a:gd name="connsiteY174" fmla="*/ 1123145 h 4738686"/>
              <a:gd name="connsiteX175" fmla="*/ 11757109 w 12193196"/>
              <a:gd name="connsiteY175" fmla="*/ 1123879 h 4738686"/>
              <a:gd name="connsiteX176" fmla="*/ 11745650 w 12193196"/>
              <a:gd name="connsiteY176" fmla="*/ 1124976 h 4738686"/>
              <a:gd name="connsiteX177" fmla="*/ 11721458 w 12193196"/>
              <a:gd name="connsiteY177" fmla="*/ 1098689 h 4738686"/>
              <a:gd name="connsiteX178" fmla="*/ 11721458 w 12193196"/>
              <a:gd name="connsiteY178" fmla="*/ 1017808 h 4738686"/>
              <a:gd name="connsiteX179" fmla="*/ 11764357 w 12193196"/>
              <a:gd name="connsiteY179" fmla="*/ 1017808 h 4738686"/>
              <a:gd name="connsiteX180" fmla="*/ 11764357 w 12193196"/>
              <a:gd name="connsiteY180" fmla="*/ 1000923 h 4738686"/>
              <a:gd name="connsiteX181" fmla="*/ 11721458 w 12193196"/>
              <a:gd name="connsiteY181" fmla="*/ 1000923 h 4738686"/>
              <a:gd name="connsiteX182" fmla="*/ 11721458 w 12193196"/>
              <a:gd name="connsiteY182" fmla="*/ 957623 h 4738686"/>
              <a:gd name="connsiteX183" fmla="*/ 11073573 w 12193196"/>
              <a:gd name="connsiteY183" fmla="*/ 941062 h 4738686"/>
              <a:gd name="connsiteX184" fmla="*/ 11073573 w 12193196"/>
              <a:gd name="connsiteY184" fmla="*/ 952413 h 4738686"/>
              <a:gd name="connsiteX185" fmla="*/ 11081212 w 12193196"/>
              <a:gd name="connsiteY185" fmla="*/ 953686 h 4738686"/>
              <a:gd name="connsiteX186" fmla="*/ 11106384 w 12193196"/>
              <a:gd name="connsiteY186" fmla="*/ 980541 h 4738686"/>
              <a:gd name="connsiteX187" fmla="*/ 11106384 w 12193196"/>
              <a:gd name="connsiteY187" fmla="*/ 1139765 h 4738686"/>
              <a:gd name="connsiteX188" fmla="*/ 11147323 w 12193196"/>
              <a:gd name="connsiteY188" fmla="*/ 1139765 h 4738686"/>
              <a:gd name="connsiteX189" fmla="*/ 11147323 w 12193196"/>
              <a:gd name="connsiteY189" fmla="*/ 981708 h 4738686"/>
              <a:gd name="connsiteX190" fmla="*/ 11251827 w 12193196"/>
              <a:gd name="connsiteY190" fmla="*/ 1139765 h 4738686"/>
              <a:gd name="connsiteX191" fmla="*/ 11302267 w 12193196"/>
              <a:gd name="connsiteY191" fmla="*/ 1139765 h 4738686"/>
              <a:gd name="connsiteX192" fmla="*/ 11302267 w 12193196"/>
              <a:gd name="connsiteY192" fmla="*/ 941062 h 4738686"/>
              <a:gd name="connsiteX193" fmla="*/ 11299623 w 12193196"/>
              <a:gd name="connsiteY193" fmla="*/ 941062 h 4738686"/>
              <a:gd name="connsiteX194" fmla="*/ 11261328 w 12193196"/>
              <a:gd name="connsiteY194" fmla="*/ 941062 h 4738686"/>
              <a:gd name="connsiteX195" fmla="*/ 11261328 w 12193196"/>
              <a:gd name="connsiteY195" fmla="*/ 1091990 h 4738686"/>
              <a:gd name="connsiteX196" fmla="*/ 11161721 w 12193196"/>
              <a:gd name="connsiteY196" fmla="*/ 941062 h 4738686"/>
              <a:gd name="connsiteX197" fmla="*/ 10085829 w 12193196"/>
              <a:gd name="connsiteY197" fmla="*/ 939103 h 4738686"/>
              <a:gd name="connsiteX198" fmla="*/ 10062691 w 12193196"/>
              <a:gd name="connsiteY198" fmla="*/ 957273 h 4738686"/>
              <a:gd name="connsiteX199" fmla="*/ 10080861 w 12193196"/>
              <a:gd name="connsiteY199" fmla="*/ 980411 h 4738686"/>
              <a:gd name="connsiteX200" fmla="*/ 10085535 w 12193196"/>
              <a:gd name="connsiteY200" fmla="*/ 980444 h 4738686"/>
              <a:gd name="connsiteX201" fmla="*/ 10085535 w 12193196"/>
              <a:gd name="connsiteY201" fmla="*/ 980415 h 4738686"/>
              <a:gd name="connsiteX202" fmla="*/ 10109531 w 12193196"/>
              <a:gd name="connsiteY202" fmla="*/ 959583 h 4738686"/>
              <a:gd name="connsiteX203" fmla="*/ 10085829 w 12193196"/>
              <a:gd name="connsiteY203" fmla="*/ 939103 h 4738686"/>
              <a:gd name="connsiteX204" fmla="*/ 9480646 w 12193196"/>
              <a:gd name="connsiteY204" fmla="*/ 937655 h 4738686"/>
              <a:gd name="connsiteX205" fmla="*/ 9477708 w 12193196"/>
              <a:gd name="connsiteY205" fmla="*/ 937919 h 4738686"/>
              <a:gd name="connsiteX206" fmla="*/ 9402293 w 12193196"/>
              <a:gd name="connsiteY206" fmla="*/ 944775 h 4738686"/>
              <a:gd name="connsiteX207" fmla="*/ 9402293 w 12193196"/>
              <a:gd name="connsiteY207" fmla="*/ 955931 h 4738686"/>
              <a:gd name="connsiteX208" fmla="*/ 9404644 w 12193196"/>
              <a:gd name="connsiteY208" fmla="*/ 956225 h 4738686"/>
              <a:gd name="connsiteX209" fmla="*/ 9435006 w 12193196"/>
              <a:gd name="connsiteY209" fmla="*/ 981690 h 4738686"/>
              <a:gd name="connsiteX210" fmla="*/ 9435006 w 12193196"/>
              <a:gd name="connsiteY210" fmla="*/ 1139748 h 4738686"/>
              <a:gd name="connsiteX211" fmla="*/ 9480646 w 12193196"/>
              <a:gd name="connsiteY211" fmla="*/ 1139748 h 4738686"/>
              <a:gd name="connsiteX212" fmla="*/ 10710404 w 12193196"/>
              <a:gd name="connsiteY212" fmla="*/ 932962 h 4738686"/>
              <a:gd name="connsiteX213" fmla="*/ 10707368 w 12193196"/>
              <a:gd name="connsiteY213" fmla="*/ 933364 h 4738686"/>
              <a:gd name="connsiteX214" fmla="*/ 10646644 w 12193196"/>
              <a:gd name="connsiteY214" fmla="*/ 940827 h 4738686"/>
              <a:gd name="connsiteX215" fmla="*/ 10646644 w 12193196"/>
              <a:gd name="connsiteY215" fmla="*/ 951600 h 4738686"/>
              <a:gd name="connsiteX216" fmla="*/ 10649288 w 12193196"/>
              <a:gd name="connsiteY216" fmla="*/ 951688 h 4738686"/>
              <a:gd name="connsiteX217" fmla="*/ 10672207 w 12193196"/>
              <a:gd name="connsiteY217" fmla="*/ 975146 h 4738686"/>
              <a:gd name="connsiteX218" fmla="*/ 10672207 w 12193196"/>
              <a:gd name="connsiteY218" fmla="*/ 1139766 h 4738686"/>
              <a:gd name="connsiteX219" fmla="*/ 10710404 w 12193196"/>
              <a:gd name="connsiteY219" fmla="*/ 1139766 h 4738686"/>
              <a:gd name="connsiteX220" fmla="*/ 10710404 w 12193196"/>
              <a:gd name="connsiteY220" fmla="*/ 1068719 h 4738686"/>
              <a:gd name="connsiteX221" fmla="*/ 10746251 w 12193196"/>
              <a:gd name="connsiteY221" fmla="*/ 1022628 h 4738686"/>
              <a:gd name="connsiteX222" fmla="*/ 10767504 w 12193196"/>
              <a:gd name="connsiteY222" fmla="*/ 1052657 h 4738686"/>
              <a:gd name="connsiteX223" fmla="*/ 10767504 w 12193196"/>
              <a:gd name="connsiteY223" fmla="*/ 1139766 h 4738686"/>
              <a:gd name="connsiteX224" fmla="*/ 10805604 w 12193196"/>
              <a:gd name="connsiteY224" fmla="*/ 1139766 h 4738686"/>
              <a:gd name="connsiteX225" fmla="*/ 10805604 w 12193196"/>
              <a:gd name="connsiteY225" fmla="*/ 1048347 h 4738686"/>
              <a:gd name="connsiteX226" fmla="*/ 10762705 w 12193196"/>
              <a:gd name="connsiteY226" fmla="*/ 997682 h 4738686"/>
              <a:gd name="connsiteX227" fmla="*/ 10710404 w 12193196"/>
              <a:gd name="connsiteY227" fmla="*/ 1028093 h 4738686"/>
              <a:gd name="connsiteX228" fmla="*/ 11691292 w 12193196"/>
              <a:gd name="connsiteY228" fmla="*/ 901218 h 4738686"/>
              <a:gd name="connsiteX229" fmla="*/ 11642419 w 12193196"/>
              <a:gd name="connsiteY229" fmla="*/ 957691 h 4738686"/>
              <a:gd name="connsiteX230" fmla="*/ 11682771 w 12193196"/>
              <a:gd name="connsiteY230" fmla="*/ 957691 h 4738686"/>
              <a:gd name="connsiteX231" fmla="*/ 11731644 w 12193196"/>
              <a:gd name="connsiteY231" fmla="*/ 901218 h 4738686"/>
              <a:gd name="connsiteX232" fmla="*/ 10547331 w 12193196"/>
              <a:gd name="connsiteY232" fmla="*/ 583241 h 4738686"/>
              <a:gd name="connsiteX233" fmla="*/ 10606292 w 12193196"/>
              <a:gd name="connsiteY233" fmla="*/ 728608 h 4738686"/>
              <a:gd name="connsiteX234" fmla="*/ 10488370 w 12193196"/>
              <a:gd name="connsiteY234" fmla="*/ 728608 h 4738686"/>
              <a:gd name="connsiteX235" fmla="*/ 11138508 w 12193196"/>
              <a:gd name="connsiteY235" fmla="*/ 528864 h 4738686"/>
              <a:gd name="connsiteX236" fmla="*/ 11138508 w 12193196"/>
              <a:gd name="connsiteY236" fmla="*/ 848508 h 4738686"/>
              <a:gd name="connsiteX237" fmla="*/ 11223130 w 12193196"/>
              <a:gd name="connsiteY237" fmla="*/ 848508 h 4738686"/>
              <a:gd name="connsiteX238" fmla="*/ 11223130 w 12193196"/>
              <a:gd name="connsiteY238" fmla="*/ 707844 h 4738686"/>
              <a:gd name="connsiteX239" fmla="*/ 11394136 w 12193196"/>
              <a:gd name="connsiteY239" fmla="*/ 707844 h 4738686"/>
              <a:gd name="connsiteX240" fmla="*/ 11394136 w 12193196"/>
              <a:gd name="connsiteY240" fmla="*/ 848508 h 4738686"/>
              <a:gd name="connsiteX241" fmla="*/ 11478856 w 12193196"/>
              <a:gd name="connsiteY241" fmla="*/ 848508 h 4738686"/>
              <a:gd name="connsiteX242" fmla="*/ 11478856 w 12193196"/>
              <a:gd name="connsiteY242" fmla="*/ 528864 h 4738686"/>
              <a:gd name="connsiteX243" fmla="*/ 11394136 w 12193196"/>
              <a:gd name="connsiteY243" fmla="*/ 528864 h 4738686"/>
              <a:gd name="connsiteX244" fmla="*/ 11394136 w 12193196"/>
              <a:gd name="connsiteY244" fmla="*/ 656678 h 4738686"/>
              <a:gd name="connsiteX245" fmla="*/ 11223130 w 12193196"/>
              <a:gd name="connsiteY245" fmla="*/ 656678 h 4738686"/>
              <a:gd name="connsiteX246" fmla="*/ 11223130 w 12193196"/>
              <a:gd name="connsiteY246" fmla="*/ 528864 h 4738686"/>
              <a:gd name="connsiteX247" fmla="*/ 10075937 w 12193196"/>
              <a:gd name="connsiteY247" fmla="*/ 528864 h 4738686"/>
              <a:gd name="connsiteX248" fmla="*/ 10075937 w 12193196"/>
              <a:gd name="connsiteY248" fmla="*/ 583241 h 4738686"/>
              <a:gd name="connsiteX249" fmla="*/ 10205416 w 12193196"/>
              <a:gd name="connsiteY249" fmla="*/ 583241 h 4738686"/>
              <a:gd name="connsiteX250" fmla="*/ 10205416 w 12193196"/>
              <a:gd name="connsiteY250" fmla="*/ 848508 h 4738686"/>
              <a:gd name="connsiteX251" fmla="*/ 10290038 w 12193196"/>
              <a:gd name="connsiteY251" fmla="*/ 848508 h 4738686"/>
              <a:gd name="connsiteX252" fmla="*/ 10290038 w 12193196"/>
              <a:gd name="connsiteY252" fmla="*/ 583241 h 4738686"/>
              <a:gd name="connsiteX253" fmla="*/ 10419517 w 12193196"/>
              <a:gd name="connsiteY253" fmla="*/ 583241 h 4738686"/>
              <a:gd name="connsiteX254" fmla="*/ 10419517 w 12193196"/>
              <a:gd name="connsiteY254" fmla="*/ 528864 h 4738686"/>
              <a:gd name="connsiteX255" fmla="*/ 10075937 w 12193196"/>
              <a:gd name="connsiteY255" fmla="*/ 528864 h 4738686"/>
              <a:gd name="connsiteX256" fmla="*/ 10495421 w 12193196"/>
              <a:gd name="connsiteY256" fmla="*/ 528864 h 4738686"/>
              <a:gd name="connsiteX257" fmla="*/ 10346060 w 12193196"/>
              <a:gd name="connsiteY257" fmla="*/ 848508 h 4738686"/>
              <a:gd name="connsiteX258" fmla="*/ 10440280 w 12193196"/>
              <a:gd name="connsiteY258" fmla="*/ 848508 h 4738686"/>
              <a:gd name="connsiteX259" fmla="*/ 10467998 w 12193196"/>
              <a:gd name="connsiteY259" fmla="*/ 779773 h 4738686"/>
              <a:gd name="connsiteX260" fmla="*/ 10626663 w 12193196"/>
              <a:gd name="connsiteY260" fmla="*/ 779773 h 4738686"/>
              <a:gd name="connsiteX261" fmla="*/ 10654381 w 12193196"/>
              <a:gd name="connsiteY261" fmla="*/ 848508 h 4738686"/>
              <a:gd name="connsiteX262" fmla="*/ 10748699 w 12193196"/>
              <a:gd name="connsiteY262" fmla="*/ 848508 h 4738686"/>
              <a:gd name="connsiteX263" fmla="*/ 10599240 w 12193196"/>
              <a:gd name="connsiteY263" fmla="*/ 528864 h 4738686"/>
              <a:gd name="connsiteX264" fmla="*/ 10495421 w 12193196"/>
              <a:gd name="connsiteY264" fmla="*/ 528864 h 4738686"/>
              <a:gd name="connsiteX265" fmla="*/ 11545848 w 12193196"/>
              <a:gd name="connsiteY265" fmla="*/ 528864 h 4738686"/>
              <a:gd name="connsiteX266" fmla="*/ 11545848 w 12193196"/>
              <a:gd name="connsiteY266" fmla="*/ 848508 h 4738686"/>
              <a:gd name="connsiteX267" fmla="*/ 11630666 w 12193196"/>
              <a:gd name="connsiteY267" fmla="*/ 848508 h 4738686"/>
              <a:gd name="connsiteX268" fmla="*/ 11630666 w 12193196"/>
              <a:gd name="connsiteY268" fmla="*/ 528864 h 4738686"/>
              <a:gd name="connsiteX269" fmla="*/ 9553515 w 12193196"/>
              <a:gd name="connsiteY269" fmla="*/ 528864 h 4738686"/>
              <a:gd name="connsiteX270" fmla="*/ 9553515 w 12193196"/>
              <a:gd name="connsiteY270" fmla="*/ 848508 h 4738686"/>
              <a:gd name="connsiteX271" fmla="*/ 9638235 w 12193196"/>
              <a:gd name="connsiteY271" fmla="*/ 848508 h 4738686"/>
              <a:gd name="connsiteX272" fmla="*/ 9638235 w 12193196"/>
              <a:gd name="connsiteY272" fmla="*/ 707844 h 4738686"/>
              <a:gd name="connsiteX273" fmla="*/ 9809143 w 12193196"/>
              <a:gd name="connsiteY273" fmla="*/ 707844 h 4738686"/>
              <a:gd name="connsiteX274" fmla="*/ 9809143 w 12193196"/>
              <a:gd name="connsiteY274" fmla="*/ 848508 h 4738686"/>
              <a:gd name="connsiteX275" fmla="*/ 9893863 w 12193196"/>
              <a:gd name="connsiteY275" fmla="*/ 848508 h 4738686"/>
              <a:gd name="connsiteX276" fmla="*/ 9893863 w 12193196"/>
              <a:gd name="connsiteY276" fmla="*/ 528864 h 4738686"/>
              <a:gd name="connsiteX277" fmla="*/ 9809143 w 12193196"/>
              <a:gd name="connsiteY277" fmla="*/ 528864 h 4738686"/>
              <a:gd name="connsiteX278" fmla="*/ 9809143 w 12193196"/>
              <a:gd name="connsiteY278" fmla="*/ 656678 h 4738686"/>
              <a:gd name="connsiteX279" fmla="*/ 9638235 w 12193196"/>
              <a:gd name="connsiteY279" fmla="*/ 656678 h 4738686"/>
              <a:gd name="connsiteX280" fmla="*/ 9638235 w 12193196"/>
              <a:gd name="connsiteY280" fmla="*/ 528864 h 4738686"/>
              <a:gd name="connsiteX281" fmla="*/ 9960953 w 12193196"/>
              <a:gd name="connsiteY281" fmla="*/ 528864 h 4738686"/>
              <a:gd name="connsiteX282" fmla="*/ 9960953 w 12193196"/>
              <a:gd name="connsiteY282" fmla="*/ 848508 h 4738686"/>
              <a:gd name="connsiteX283" fmla="*/ 10045673 w 12193196"/>
              <a:gd name="connsiteY283" fmla="*/ 848508 h 4738686"/>
              <a:gd name="connsiteX284" fmla="*/ 10045673 w 12193196"/>
              <a:gd name="connsiteY284" fmla="*/ 528864 h 4738686"/>
              <a:gd name="connsiteX285" fmla="*/ 10929795 w 12193196"/>
              <a:gd name="connsiteY285" fmla="*/ 520972 h 4738686"/>
              <a:gd name="connsiteX286" fmla="*/ 10828914 w 12193196"/>
              <a:gd name="connsiteY286" fmla="*/ 537904 h 4738686"/>
              <a:gd name="connsiteX287" fmla="*/ 10756241 w 12193196"/>
              <a:gd name="connsiteY287" fmla="*/ 598756 h 4738686"/>
              <a:gd name="connsiteX288" fmla="*/ 10734302 w 12193196"/>
              <a:gd name="connsiteY288" fmla="*/ 691800 h 4738686"/>
              <a:gd name="connsiteX289" fmla="*/ 10745663 w 12193196"/>
              <a:gd name="connsiteY289" fmla="*/ 759871 h 4738686"/>
              <a:gd name="connsiteX290" fmla="*/ 10745663 w 12193196"/>
              <a:gd name="connsiteY290" fmla="*/ 759880 h 4738686"/>
              <a:gd name="connsiteX291" fmla="*/ 10836847 w 12193196"/>
              <a:gd name="connsiteY291" fmla="*/ 843130 h 4738686"/>
              <a:gd name="connsiteX292" fmla="*/ 10922840 w 12193196"/>
              <a:gd name="connsiteY292" fmla="*/ 856372 h 4738686"/>
              <a:gd name="connsiteX293" fmla="*/ 11031654 w 12193196"/>
              <a:gd name="connsiteY293" fmla="*/ 834140 h 4738686"/>
              <a:gd name="connsiteX294" fmla="*/ 11090810 w 12193196"/>
              <a:gd name="connsiteY294" fmla="*/ 763621 h 4738686"/>
              <a:gd name="connsiteX295" fmla="*/ 11095120 w 12193196"/>
              <a:gd name="connsiteY295" fmla="*/ 733318 h 4738686"/>
              <a:gd name="connsiteX296" fmla="*/ 11005895 w 12193196"/>
              <a:gd name="connsiteY296" fmla="*/ 733318 h 4738686"/>
              <a:gd name="connsiteX297" fmla="*/ 10998941 w 12193196"/>
              <a:gd name="connsiteY297" fmla="*/ 767598 h 4738686"/>
              <a:gd name="connsiteX298" fmla="*/ 10961919 w 12193196"/>
              <a:gd name="connsiteY298" fmla="*/ 800790 h 4738686"/>
              <a:gd name="connsiteX299" fmla="*/ 10922840 w 12193196"/>
              <a:gd name="connsiteY299" fmla="*/ 806873 h 4738686"/>
              <a:gd name="connsiteX300" fmla="*/ 10877395 w 12193196"/>
              <a:gd name="connsiteY300" fmla="*/ 798460 h 4738686"/>
              <a:gd name="connsiteX301" fmla="*/ 10831167 w 12193196"/>
              <a:gd name="connsiteY301" fmla="*/ 748009 h 4738686"/>
              <a:gd name="connsiteX302" fmla="*/ 10823037 w 12193196"/>
              <a:gd name="connsiteY302" fmla="*/ 691820 h 4738686"/>
              <a:gd name="connsiteX303" fmla="*/ 10834595 w 12193196"/>
              <a:gd name="connsiteY303" fmla="*/ 624553 h 4738686"/>
              <a:gd name="connsiteX304" fmla="*/ 10880921 w 12193196"/>
              <a:gd name="connsiteY304" fmla="*/ 577649 h 4738686"/>
              <a:gd name="connsiteX305" fmla="*/ 10922840 w 12193196"/>
              <a:gd name="connsiteY305" fmla="*/ 570431 h 4738686"/>
              <a:gd name="connsiteX306" fmla="*/ 10959862 w 12193196"/>
              <a:gd name="connsiteY306" fmla="*/ 575964 h 4738686"/>
              <a:gd name="connsiteX307" fmla="*/ 10999627 w 12193196"/>
              <a:gd name="connsiteY307" fmla="*/ 612928 h 4738686"/>
              <a:gd name="connsiteX308" fmla="*/ 11004230 w 12193196"/>
              <a:gd name="connsiteY308" fmla="*/ 637521 h 4738686"/>
              <a:gd name="connsiteX309" fmla="*/ 11093063 w 12193196"/>
              <a:gd name="connsiteY309" fmla="*/ 637521 h 4738686"/>
              <a:gd name="connsiteX310" fmla="*/ 11090027 w 12193196"/>
              <a:gd name="connsiteY310" fmla="*/ 617276 h 4738686"/>
              <a:gd name="connsiteX311" fmla="*/ 11029597 w 12193196"/>
              <a:gd name="connsiteY311" fmla="*/ 543409 h 4738686"/>
              <a:gd name="connsiteX312" fmla="*/ 10929795 w 12193196"/>
              <a:gd name="connsiteY312" fmla="*/ 520972 h 4738686"/>
              <a:gd name="connsiteX313" fmla="*/ 0 w 12193196"/>
              <a:gd name="connsiteY313" fmla="*/ 0 h 4738686"/>
              <a:gd name="connsiteX314" fmla="*/ 12193196 w 12193196"/>
              <a:gd name="connsiteY314" fmla="*/ 0 h 4738686"/>
              <a:gd name="connsiteX315" fmla="*/ 12193196 w 12193196"/>
              <a:gd name="connsiteY315" fmla="*/ 4738686 h 4738686"/>
              <a:gd name="connsiteX316" fmla="*/ 0 w 12193196"/>
              <a:gd name="connsiteY316" fmla="*/ 4738686 h 4738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</a:cxnLst>
            <a:rect l="l" t="t" r="r" b="b"/>
            <a:pathLst>
              <a:path w="12193196" h="4738686">
                <a:moveTo>
                  <a:pt x="9943716" y="1018573"/>
                </a:moveTo>
                <a:lnTo>
                  <a:pt x="9943716" y="1018583"/>
                </a:lnTo>
                <a:cubicBezTo>
                  <a:pt x="9969768" y="1018583"/>
                  <a:pt x="9972804" y="1046888"/>
                  <a:pt x="9972804" y="1068171"/>
                </a:cubicBezTo>
                <a:cubicBezTo>
                  <a:pt x="9972804" y="1104410"/>
                  <a:pt x="9963402" y="1122040"/>
                  <a:pt x="9944107" y="1122040"/>
                </a:cubicBezTo>
                <a:cubicBezTo>
                  <a:pt x="9919230" y="1122040"/>
                  <a:pt x="9914039" y="1098847"/>
                  <a:pt x="9914039" y="1079406"/>
                </a:cubicBezTo>
                <a:lnTo>
                  <a:pt x="9914039" y="1067545"/>
                </a:lnTo>
                <a:cubicBezTo>
                  <a:pt x="9914039" y="1052854"/>
                  <a:pt x="9916977" y="1018573"/>
                  <a:pt x="9943716" y="1018573"/>
                </a:cubicBezTo>
                <a:close/>
                <a:moveTo>
                  <a:pt x="11408435" y="1012941"/>
                </a:moveTo>
                <a:cubicBezTo>
                  <a:pt x="11428807" y="1012941"/>
                  <a:pt x="11434096" y="1027633"/>
                  <a:pt x="11434684" y="1041128"/>
                </a:cubicBezTo>
                <a:lnTo>
                  <a:pt x="11379836" y="1041128"/>
                </a:lnTo>
                <a:cubicBezTo>
                  <a:pt x="11380159" y="1025534"/>
                  <a:pt x="11392843" y="1013033"/>
                  <a:pt x="11408435" y="1012941"/>
                </a:cubicBezTo>
                <a:close/>
                <a:moveTo>
                  <a:pt x="10350271" y="1012834"/>
                </a:moveTo>
                <a:cubicBezTo>
                  <a:pt x="10370741" y="1012834"/>
                  <a:pt x="10376030" y="1027584"/>
                  <a:pt x="10376618" y="1041021"/>
                </a:cubicBezTo>
                <a:lnTo>
                  <a:pt x="10321770" y="1041021"/>
                </a:lnTo>
                <a:cubicBezTo>
                  <a:pt x="10322093" y="1025467"/>
                  <a:pt x="10334714" y="1012983"/>
                  <a:pt x="10350271" y="1012834"/>
                </a:cubicBezTo>
                <a:close/>
                <a:moveTo>
                  <a:pt x="10912556" y="1012833"/>
                </a:moveTo>
                <a:cubicBezTo>
                  <a:pt x="10933026" y="1012833"/>
                  <a:pt x="10938217" y="1027584"/>
                  <a:pt x="10938805" y="1041021"/>
                </a:cubicBezTo>
                <a:lnTo>
                  <a:pt x="10883957" y="1041021"/>
                </a:lnTo>
                <a:cubicBezTo>
                  <a:pt x="10884290" y="1025434"/>
                  <a:pt x="10896964" y="1012941"/>
                  <a:pt x="10912556" y="1012833"/>
                </a:cubicBezTo>
                <a:close/>
                <a:moveTo>
                  <a:pt x="11605397" y="1000835"/>
                </a:moveTo>
                <a:lnTo>
                  <a:pt x="11568179" y="1043841"/>
                </a:lnTo>
                <a:lnTo>
                  <a:pt x="11535270" y="1000923"/>
                </a:lnTo>
                <a:lnTo>
                  <a:pt x="11476897" y="1000923"/>
                </a:lnTo>
                <a:lnTo>
                  <a:pt x="11476897" y="1011922"/>
                </a:lnTo>
                <a:lnTo>
                  <a:pt x="11479443" y="1012079"/>
                </a:lnTo>
                <a:cubicBezTo>
                  <a:pt x="11499326" y="1013430"/>
                  <a:pt x="11503831" y="1016976"/>
                  <a:pt x="11516074" y="1033136"/>
                </a:cubicBezTo>
                <a:lnTo>
                  <a:pt x="11539971" y="1064899"/>
                </a:lnTo>
                <a:lnTo>
                  <a:pt x="11500893" y="1110021"/>
                </a:lnTo>
                <a:lnTo>
                  <a:pt x="11541245" y="1110021"/>
                </a:lnTo>
                <a:lnTo>
                  <a:pt x="11558776" y="1089874"/>
                </a:lnTo>
                <a:lnTo>
                  <a:pt x="11596386" y="1139824"/>
                </a:lnTo>
                <a:lnTo>
                  <a:pt x="11641635" y="1139824"/>
                </a:lnTo>
                <a:lnTo>
                  <a:pt x="11569942" y="1046192"/>
                </a:lnTo>
                <a:lnTo>
                  <a:pt x="11606474" y="1046221"/>
                </a:lnTo>
                <a:lnTo>
                  <a:pt x="11645651" y="1000835"/>
                </a:lnTo>
                <a:close/>
                <a:moveTo>
                  <a:pt x="11409709" y="997750"/>
                </a:moveTo>
                <a:cubicBezTo>
                  <a:pt x="11362305" y="997750"/>
                  <a:pt x="11338211" y="1020600"/>
                  <a:pt x="11338211" y="1065684"/>
                </a:cubicBezTo>
                <a:cubicBezTo>
                  <a:pt x="11338211" y="1114066"/>
                  <a:pt x="11369259" y="1143008"/>
                  <a:pt x="11421168" y="1143008"/>
                </a:cubicBezTo>
                <a:cubicBezTo>
                  <a:pt x="11437024" y="1142934"/>
                  <a:pt x="11452764" y="1140308"/>
                  <a:pt x="11467788" y="1135231"/>
                </a:cubicBezTo>
                <a:lnTo>
                  <a:pt x="11470041" y="1134527"/>
                </a:lnTo>
                <a:lnTo>
                  <a:pt x="11470041" y="1116084"/>
                </a:lnTo>
                <a:lnTo>
                  <a:pt x="11466417" y="1117376"/>
                </a:lnTo>
                <a:cubicBezTo>
                  <a:pt x="11456779" y="1120531"/>
                  <a:pt x="11446691" y="1122122"/>
                  <a:pt x="11436545" y="1122088"/>
                </a:cubicBezTo>
                <a:cubicBezTo>
                  <a:pt x="11395801" y="1122088"/>
                  <a:pt x="11380620" y="1088181"/>
                  <a:pt x="11379738" y="1058034"/>
                </a:cubicBezTo>
                <a:lnTo>
                  <a:pt x="11472979" y="1058034"/>
                </a:lnTo>
                <a:lnTo>
                  <a:pt x="11472979" y="1055330"/>
                </a:lnTo>
                <a:cubicBezTo>
                  <a:pt x="11472979" y="1017133"/>
                  <a:pt x="11451726" y="997750"/>
                  <a:pt x="11409709" y="997750"/>
                </a:cubicBezTo>
                <a:close/>
                <a:moveTo>
                  <a:pt x="9781426" y="997723"/>
                </a:moveTo>
                <a:cubicBezTo>
                  <a:pt x="9745481" y="997723"/>
                  <a:pt x="9724032" y="1013119"/>
                  <a:pt x="9724032" y="1038926"/>
                </a:cubicBezTo>
                <a:cubicBezTo>
                  <a:pt x="9724032" y="1062100"/>
                  <a:pt x="9746265" y="1073031"/>
                  <a:pt x="9765951" y="1082648"/>
                </a:cubicBezTo>
                <a:cubicBezTo>
                  <a:pt x="9781230" y="1090161"/>
                  <a:pt x="9795725" y="1097203"/>
                  <a:pt x="9795725" y="1108378"/>
                </a:cubicBezTo>
                <a:cubicBezTo>
                  <a:pt x="9795725" y="1118877"/>
                  <a:pt x="9786421" y="1124901"/>
                  <a:pt x="9770261" y="1124901"/>
                </a:cubicBezTo>
                <a:cubicBezTo>
                  <a:pt x="9755255" y="1123971"/>
                  <a:pt x="9740791" y="1118948"/>
                  <a:pt x="9728439" y="1110376"/>
                </a:cubicBezTo>
                <a:lnTo>
                  <a:pt x="9724326" y="1107888"/>
                </a:lnTo>
                <a:lnTo>
                  <a:pt x="9724326" y="1137271"/>
                </a:lnTo>
                <a:lnTo>
                  <a:pt x="9727166" y="1137888"/>
                </a:lnTo>
                <a:cubicBezTo>
                  <a:pt x="9740855" y="1141241"/>
                  <a:pt x="9754894" y="1142947"/>
                  <a:pt x="9768987" y="1142971"/>
                </a:cubicBezTo>
                <a:cubicBezTo>
                  <a:pt x="9807576" y="1142971"/>
                  <a:pt x="9830593" y="1127134"/>
                  <a:pt x="9830593" y="1100631"/>
                </a:cubicBezTo>
                <a:cubicBezTo>
                  <a:pt x="9830593" y="1074372"/>
                  <a:pt x="9807381" y="1062982"/>
                  <a:pt x="9786911" y="1052913"/>
                </a:cubicBezTo>
                <a:lnTo>
                  <a:pt x="9786911" y="1052884"/>
                </a:lnTo>
                <a:cubicBezTo>
                  <a:pt x="9771828" y="1045527"/>
                  <a:pt x="9758899" y="1039172"/>
                  <a:pt x="9758899" y="1028779"/>
                </a:cubicBezTo>
                <a:cubicBezTo>
                  <a:pt x="9758899" y="1017026"/>
                  <a:pt x="9773003" y="1015714"/>
                  <a:pt x="9779075" y="1015714"/>
                </a:cubicBezTo>
                <a:cubicBezTo>
                  <a:pt x="9791882" y="1016511"/>
                  <a:pt x="9804235" y="1020760"/>
                  <a:pt x="9814824" y="1028006"/>
                </a:cubicBezTo>
                <a:lnTo>
                  <a:pt x="9820799" y="1031649"/>
                </a:lnTo>
                <a:lnTo>
                  <a:pt x="9820799" y="1003079"/>
                </a:lnTo>
                <a:lnTo>
                  <a:pt x="9816097" y="1002101"/>
                </a:lnTo>
                <a:cubicBezTo>
                  <a:pt x="9804739" y="999359"/>
                  <a:pt x="9793109" y="997890"/>
                  <a:pt x="9781426" y="997723"/>
                </a:cubicBezTo>
                <a:close/>
                <a:moveTo>
                  <a:pt x="10913830" y="997682"/>
                </a:moveTo>
                <a:cubicBezTo>
                  <a:pt x="10866426" y="997682"/>
                  <a:pt x="10842430" y="1020493"/>
                  <a:pt x="10842430" y="1065566"/>
                </a:cubicBezTo>
                <a:cubicBezTo>
                  <a:pt x="10842430" y="1114017"/>
                  <a:pt x="10873380" y="1142940"/>
                  <a:pt x="10925289" y="1142940"/>
                </a:cubicBezTo>
                <a:cubicBezTo>
                  <a:pt x="10941146" y="1142830"/>
                  <a:pt x="10956885" y="1140185"/>
                  <a:pt x="10971909" y="1135104"/>
                </a:cubicBezTo>
                <a:lnTo>
                  <a:pt x="10974162" y="1134399"/>
                </a:lnTo>
                <a:lnTo>
                  <a:pt x="10974162" y="1115976"/>
                </a:lnTo>
                <a:lnTo>
                  <a:pt x="10970538" y="1117289"/>
                </a:lnTo>
                <a:cubicBezTo>
                  <a:pt x="10960910" y="1120484"/>
                  <a:pt x="10950813" y="1122075"/>
                  <a:pt x="10940666" y="1122000"/>
                </a:cubicBezTo>
                <a:cubicBezTo>
                  <a:pt x="10899922" y="1122000"/>
                  <a:pt x="10884741" y="1088122"/>
                  <a:pt x="10883957" y="1057926"/>
                </a:cubicBezTo>
                <a:lnTo>
                  <a:pt x="10977100" y="1057926"/>
                </a:lnTo>
                <a:lnTo>
                  <a:pt x="10977100" y="1055242"/>
                </a:lnTo>
                <a:cubicBezTo>
                  <a:pt x="10977100" y="1017044"/>
                  <a:pt x="10955847" y="997682"/>
                  <a:pt x="10913830" y="997682"/>
                </a:cubicBezTo>
                <a:close/>
                <a:moveTo>
                  <a:pt x="10351643" y="997682"/>
                </a:moveTo>
                <a:cubicBezTo>
                  <a:pt x="10304239" y="997682"/>
                  <a:pt x="10280145" y="1020493"/>
                  <a:pt x="10280145" y="1065566"/>
                </a:cubicBezTo>
                <a:cubicBezTo>
                  <a:pt x="10280145" y="1114017"/>
                  <a:pt x="10311193" y="1142940"/>
                  <a:pt x="10363102" y="1142940"/>
                </a:cubicBezTo>
                <a:cubicBezTo>
                  <a:pt x="10378961" y="1142830"/>
                  <a:pt x="10394698" y="1140185"/>
                  <a:pt x="10409722" y="1135104"/>
                </a:cubicBezTo>
                <a:lnTo>
                  <a:pt x="10411975" y="1134399"/>
                </a:lnTo>
                <a:lnTo>
                  <a:pt x="10411975" y="1115976"/>
                </a:lnTo>
                <a:lnTo>
                  <a:pt x="10408351" y="1117289"/>
                </a:lnTo>
                <a:cubicBezTo>
                  <a:pt x="10398713" y="1120466"/>
                  <a:pt x="10388625" y="1122057"/>
                  <a:pt x="10378479" y="1122000"/>
                </a:cubicBezTo>
                <a:cubicBezTo>
                  <a:pt x="10337735" y="1122000"/>
                  <a:pt x="10322554" y="1088122"/>
                  <a:pt x="10321672" y="1057926"/>
                </a:cubicBezTo>
                <a:lnTo>
                  <a:pt x="10414913" y="1057926"/>
                </a:lnTo>
                <a:lnTo>
                  <a:pt x="10414913" y="1055242"/>
                </a:lnTo>
                <a:cubicBezTo>
                  <a:pt x="10414913" y="1017045"/>
                  <a:pt x="10393660" y="997682"/>
                  <a:pt x="10351643" y="997682"/>
                </a:cubicBezTo>
                <a:close/>
                <a:moveTo>
                  <a:pt x="10104241" y="997212"/>
                </a:moveTo>
                <a:lnTo>
                  <a:pt x="10101107" y="997702"/>
                </a:lnTo>
                <a:lnTo>
                  <a:pt x="10040873" y="1007280"/>
                </a:lnTo>
                <a:lnTo>
                  <a:pt x="10040873" y="1017937"/>
                </a:lnTo>
                <a:lnTo>
                  <a:pt x="10043517" y="1018005"/>
                </a:lnTo>
                <a:cubicBezTo>
                  <a:pt x="10062322" y="1018563"/>
                  <a:pt x="10066142" y="1022432"/>
                  <a:pt x="10066142" y="1040865"/>
                </a:cubicBezTo>
                <a:lnTo>
                  <a:pt x="10066142" y="1139787"/>
                </a:lnTo>
                <a:lnTo>
                  <a:pt x="10104241" y="1139787"/>
                </a:lnTo>
                <a:close/>
                <a:moveTo>
                  <a:pt x="9914333" y="997212"/>
                </a:moveTo>
                <a:lnTo>
                  <a:pt x="9911199" y="997703"/>
                </a:lnTo>
                <a:lnTo>
                  <a:pt x="9850377" y="1007280"/>
                </a:lnTo>
                <a:lnTo>
                  <a:pt x="9850377" y="1017937"/>
                </a:lnTo>
                <a:lnTo>
                  <a:pt x="9853021" y="1018005"/>
                </a:lnTo>
                <a:cubicBezTo>
                  <a:pt x="9872022" y="1018563"/>
                  <a:pt x="9875940" y="1022433"/>
                  <a:pt x="9875940" y="1040865"/>
                </a:cubicBezTo>
                <a:lnTo>
                  <a:pt x="9875940" y="1198327"/>
                </a:lnTo>
                <a:lnTo>
                  <a:pt x="9914039" y="1198327"/>
                </a:lnTo>
                <a:lnTo>
                  <a:pt x="9914039" y="1126594"/>
                </a:lnTo>
                <a:cubicBezTo>
                  <a:pt x="9923719" y="1138012"/>
                  <a:pt x="9938291" y="1144094"/>
                  <a:pt x="9953216" y="1142940"/>
                </a:cubicBezTo>
                <a:cubicBezTo>
                  <a:pt x="9993176" y="1142940"/>
                  <a:pt x="10014234" y="1117064"/>
                  <a:pt x="10014234" y="1068171"/>
                </a:cubicBezTo>
                <a:cubicBezTo>
                  <a:pt x="10014234" y="1023334"/>
                  <a:pt x="9992491" y="997654"/>
                  <a:pt x="9954587" y="997654"/>
                </a:cubicBezTo>
                <a:lnTo>
                  <a:pt x="9954587" y="997682"/>
                </a:lnTo>
                <a:cubicBezTo>
                  <a:pt x="9939027" y="998380"/>
                  <a:pt x="9924452" y="1005498"/>
                  <a:pt x="9914333" y="1017339"/>
                </a:cubicBezTo>
                <a:close/>
                <a:moveTo>
                  <a:pt x="9585052" y="997212"/>
                </a:moveTo>
                <a:lnTo>
                  <a:pt x="9581918" y="997703"/>
                </a:lnTo>
                <a:lnTo>
                  <a:pt x="9520704" y="1007280"/>
                </a:lnTo>
                <a:lnTo>
                  <a:pt x="9520704" y="1017986"/>
                </a:lnTo>
                <a:lnTo>
                  <a:pt x="9523348" y="1017986"/>
                </a:lnTo>
                <a:cubicBezTo>
                  <a:pt x="9542741" y="1018545"/>
                  <a:pt x="9546952" y="1022609"/>
                  <a:pt x="9546952" y="1040846"/>
                </a:cubicBezTo>
                <a:lnTo>
                  <a:pt x="9546952" y="1139767"/>
                </a:lnTo>
                <a:lnTo>
                  <a:pt x="9585052" y="1139767"/>
                </a:lnTo>
                <a:lnTo>
                  <a:pt x="9585052" y="1066967"/>
                </a:lnTo>
                <a:cubicBezTo>
                  <a:pt x="9585052" y="1047623"/>
                  <a:pt x="9603269" y="1022628"/>
                  <a:pt x="9622661" y="1022628"/>
                </a:cubicBezTo>
                <a:cubicBezTo>
                  <a:pt x="9640879" y="1022628"/>
                  <a:pt x="9641858" y="1037849"/>
                  <a:pt x="9641858" y="1062687"/>
                </a:cubicBezTo>
                <a:lnTo>
                  <a:pt x="9641858" y="1139767"/>
                </a:lnTo>
                <a:lnTo>
                  <a:pt x="9680055" y="1139767"/>
                </a:lnTo>
                <a:lnTo>
                  <a:pt x="9680055" y="1040866"/>
                </a:lnTo>
                <a:cubicBezTo>
                  <a:pt x="9680055" y="1013011"/>
                  <a:pt x="9664972" y="997682"/>
                  <a:pt x="9637647" y="997682"/>
                </a:cubicBezTo>
                <a:cubicBezTo>
                  <a:pt x="9616043" y="998193"/>
                  <a:pt x="9596200" y="1009718"/>
                  <a:pt x="9585052" y="1028230"/>
                </a:cubicBezTo>
                <a:close/>
                <a:moveTo>
                  <a:pt x="10204730" y="997212"/>
                </a:moveTo>
                <a:lnTo>
                  <a:pt x="10201596" y="997702"/>
                </a:lnTo>
                <a:lnTo>
                  <a:pt x="10140774" y="1007280"/>
                </a:lnTo>
                <a:lnTo>
                  <a:pt x="10140774" y="1017985"/>
                </a:lnTo>
                <a:lnTo>
                  <a:pt x="10143418" y="1017985"/>
                </a:lnTo>
                <a:cubicBezTo>
                  <a:pt x="10162713" y="1018544"/>
                  <a:pt x="10166631" y="1022412"/>
                  <a:pt x="10166631" y="1040845"/>
                </a:cubicBezTo>
                <a:lnTo>
                  <a:pt x="10166631" y="1139766"/>
                </a:lnTo>
                <a:lnTo>
                  <a:pt x="10204730" y="1139766"/>
                </a:lnTo>
                <a:lnTo>
                  <a:pt x="10204730" y="1068455"/>
                </a:lnTo>
                <a:cubicBezTo>
                  <a:pt x="10202786" y="1048275"/>
                  <a:pt x="10217569" y="1030340"/>
                  <a:pt x="10237749" y="1028396"/>
                </a:cubicBezTo>
                <a:cubicBezTo>
                  <a:pt x="10240025" y="1028176"/>
                  <a:pt x="10242316" y="1028170"/>
                  <a:pt x="10244592" y="1028377"/>
                </a:cubicBezTo>
                <a:cubicBezTo>
                  <a:pt x="10249094" y="1028635"/>
                  <a:pt x="10253541" y="1029494"/>
                  <a:pt x="10257815" y="1030933"/>
                </a:cubicBezTo>
                <a:lnTo>
                  <a:pt x="10263985" y="1032667"/>
                </a:lnTo>
                <a:lnTo>
                  <a:pt x="10263985" y="1029112"/>
                </a:lnTo>
                <a:lnTo>
                  <a:pt x="10263985" y="999484"/>
                </a:lnTo>
                <a:lnTo>
                  <a:pt x="10261732" y="999141"/>
                </a:lnTo>
                <a:cubicBezTo>
                  <a:pt x="10255737" y="998203"/>
                  <a:pt x="10249680" y="997715"/>
                  <a:pt x="10243613" y="997682"/>
                </a:cubicBezTo>
                <a:cubicBezTo>
                  <a:pt x="10226159" y="998411"/>
                  <a:pt x="10210840" y="1009523"/>
                  <a:pt x="10204730" y="1025889"/>
                </a:cubicBezTo>
                <a:close/>
                <a:moveTo>
                  <a:pt x="10548800" y="957712"/>
                </a:moveTo>
                <a:lnTo>
                  <a:pt x="10548800" y="1000943"/>
                </a:lnTo>
                <a:lnTo>
                  <a:pt x="10523237" y="1000943"/>
                </a:lnTo>
                <a:lnTo>
                  <a:pt x="10523237" y="1017828"/>
                </a:lnTo>
                <a:lnTo>
                  <a:pt x="10548800" y="1017828"/>
                </a:lnTo>
                <a:lnTo>
                  <a:pt x="10548800" y="1103283"/>
                </a:lnTo>
                <a:cubicBezTo>
                  <a:pt x="10548800" y="1140080"/>
                  <a:pt x="10572502" y="1143028"/>
                  <a:pt x="10601199" y="1143028"/>
                </a:cubicBezTo>
                <a:cubicBezTo>
                  <a:pt x="10608721" y="1142852"/>
                  <a:pt x="10616223" y="1142072"/>
                  <a:pt x="10623627" y="1140697"/>
                </a:cubicBezTo>
                <a:lnTo>
                  <a:pt x="10625880" y="1140364"/>
                </a:lnTo>
                <a:lnTo>
                  <a:pt x="10625880" y="1123146"/>
                </a:lnTo>
                <a:lnTo>
                  <a:pt x="10622648" y="1123880"/>
                </a:lnTo>
                <a:cubicBezTo>
                  <a:pt x="10618848" y="1124646"/>
                  <a:pt x="10614969" y="1125014"/>
                  <a:pt x="10611091" y="1124977"/>
                </a:cubicBezTo>
                <a:cubicBezTo>
                  <a:pt x="10588173" y="1124977"/>
                  <a:pt x="10586899" y="1118219"/>
                  <a:pt x="10586899" y="1098690"/>
                </a:cubicBezTo>
                <a:lnTo>
                  <a:pt x="10586899" y="1017809"/>
                </a:lnTo>
                <a:lnTo>
                  <a:pt x="10629798" y="1017809"/>
                </a:lnTo>
                <a:lnTo>
                  <a:pt x="10629798" y="1000923"/>
                </a:lnTo>
                <a:lnTo>
                  <a:pt x="10586899" y="1000923"/>
                </a:lnTo>
                <a:lnTo>
                  <a:pt x="10586899" y="957712"/>
                </a:lnTo>
                <a:close/>
                <a:moveTo>
                  <a:pt x="11683359" y="957623"/>
                </a:moveTo>
                <a:lnTo>
                  <a:pt x="11683359" y="1000923"/>
                </a:lnTo>
                <a:lnTo>
                  <a:pt x="11657796" y="1000923"/>
                </a:lnTo>
                <a:lnTo>
                  <a:pt x="11657796" y="1017808"/>
                </a:lnTo>
                <a:lnTo>
                  <a:pt x="11683359" y="1017808"/>
                </a:lnTo>
                <a:lnTo>
                  <a:pt x="11683359" y="1103263"/>
                </a:lnTo>
                <a:cubicBezTo>
                  <a:pt x="11683359" y="1140059"/>
                  <a:pt x="11707061" y="1143007"/>
                  <a:pt x="11735758" y="1143007"/>
                </a:cubicBezTo>
                <a:cubicBezTo>
                  <a:pt x="11743250" y="1142836"/>
                  <a:pt x="11750723" y="1142056"/>
                  <a:pt x="11758089" y="1140676"/>
                </a:cubicBezTo>
                <a:lnTo>
                  <a:pt x="11760439" y="1140343"/>
                </a:lnTo>
                <a:lnTo>
                  <a:pt x="11760439" y="1123145"/>
                </a:lnTo>
                <a:lnTo>
                  <a:pt x="11757109" y="1123879"/>
                </a:lnTo>
                <a:cubicBezTo>
                  <a:pt x="11753338" y="1124651"/>
                  <a:pt x="11749499" y="1125018"/>
                  <a:pt x="11745650" y="1124976"/>
                </a:cubicBezTo>
                <a:cubicBezTo>
                  <a:pt x="11722634" y="1124976"/>
                  <a:pt x="11721458" y="1118218"/>
                  <a:pt x="11721458" y="1098689"/>
                </a:cubicBezTo>
                <a:lnTo>
                  <a:pt x="11721458" y="1017808"/>
                </a:lnTo>
                <a:lnTo>
                  <a:pt x="11764357" y="1017808"/>
                </a:lnTo>
                <a:lnTo>
                  <a:pt x="11764357" y="1000923"/>
                </a:lnTo>
                <a:lnTo>
                  <a:pt x="11721458" y="1000923"/>
                </a:lnTo>
                <a:lnTo>
                  <a:pt x="11721458" y="957623"/>
                </a:lnTo>
                <a:close/>
                <a:moveTo>
                  <a:pt x="11073573" y="941062"/>
                </a:moveTo>
                <a:lnTo>
                  <a:pt x="11073573" y="952413"/>
                </a:lnTo>
                <a:lnTo>
                  <a:pt x="11081212" y="953686"/>
                </a:lnTo>
                <a:cubicBezTo>
                  <a:pt x="11104425" y="957603"/>
                  <a:pt x="11106384" y="957927"/>
                  <a:pt x="11106384" y="980541"/>
                </a:cubicBezTo>
                <a:lnTo>
                  <a:pt x="11106384" y="1139765"/>
                </a:lnTo>
                <a:lnTo>
                  <a:pt x="11147323" y="1139765"/>
                </a:lnTo>
                <a:lnTo>
                  <a:pt x="11147323" y="981708"/>
                </a:lnTo>
                <a:lnTo>
                  <a:pt x="11251827" y="1139765"/>
                </a:lnTo>
                <a:lnTo>
                  <a:pt x="11302267" y="1139765"/>
                </a:lnTo>
                <a:lnTo>
                  <a:pt x="11302267" y="941062"/>
                </a:lnTo>
                <a:lnTo>
                  <a:pt x="11299623" y="941062"/>
                </a:lnTo>
                <a:lnTo>
                  <a:pt x="11261328" y="941062"/>
                </a:lnTo>
                <a:lnTo>
                  <a:pt x="11261328" y="1091990"/>
                </a:lnTo>
                <a:cubicBezTo>
                  <a:pt x="11253492" y="1080022"/>
                  <a:pt x="11161721" y="941062"/>
                  <a:pt x="11161721" y="941062"/>
                </a:cubicBezTo>
                <a:close/>
                <a:moveTo>
                  <a:pt x="10085829" y="939103"/>
                </a:moveTo>
                <a:cubicBezTo>
                  <a:pt x="10074421" y="937731"/>
                  <a:pt x="10064062" y="945866"/>
                  <a:pt x="10062691" y="957273"/>
                </a:cubicBezTo>
                <a:cubicBezTo>
                  <a:pt x="10061319" y="968679"/>
                  <a:pt x="10069454" y="979039"/>
                  <a:pt x="10080861" y="980411"/>
                </a:cubicBezTo>
                <a:cubicBezTo>
                  <a:pt x="10082413" y="980598"/>
                  <a:pt x="10083981" y="980609"/>
                  <a:pt x="10085535" y="980444"/>
                </a:cubicBezTo>
                <a:lnTo>
                  <a:pt x="10085535" y="980415"/>
                </a:lnTo>
                <a:cubicBezTo>
                  <a:pt x="10097883" y="981196"/>
                  <a:pt x="10108570" y="971918"/>
                  <a:pt x="10109531" y="959583"/>
                </a:cubicBezTo>
                <a:cubicBezTo>
                  <a:pt x="10108536" y="947436"/>
                  <a:pt x="10097992" y="938325"/>
                  <a:pt x="10085829" y="939103"/>
                </a:cubicBezTo>
                <a:close/>
                <a:moveTo>
                  <a:pt x="9480646" y="937655"/>
                </a:moveTo>
                <a:lnTo>
                  <a:pt x="9477708" y="937919"/>
                </a:lnTo>
                <a:lnTo>
                  <a:pt x="9402293" y="944775"/>
                </a:lnTo>
                <a:lnTo>
                  <a:pt x="9402293" y="955931"/>
                </a:lnTo>
                <a:lnTo>
                  <a:pt x="9404644" y="956225"/>
                </a:lnTo>
                <a:cubicBezTo>
                  <a:pt x="9435006" y="959800"/>
                  <a:pt x="9435006" y="959800"/>
                  <a:pt x="9435006" y="981690"/>
                </a:cubicBezTo>
                <a:lnTo>
                  <a:pt x="9435006" y="1139748"/>
                </a:lnTo>
                <a:lnTo>
                  <a:pt x="9480646" y="1139748"/>
                </a:lnTo>
                <a:close/>
                <a:moveTo>
                  <a:pt x="10710404" y="932962"/>
                </a:moveTo>
                <a:lnTo>
                  <a:pt x="10707368" y="933364"/>
                </a:lnTo>
                <a:lnTo>
                  <a:pt x="10646644" y="940827"/>
                </a:lnTo>
                <a:lnTo>
                  <a:pt x="10646644" y="951600"/>
                </a:lnTo>
                <a:lnTo>
                  <a:pt x="10649288" y="951688"/>
                </a:lnTo>
                <a:cubicBezTo>
                  <a:pt x="10668191" y="952531"/>
                  <a:pt x="10672207" y="956683"/>
                  <a:pt x="10672207" y="975146"/>
                </a:cubicBezTo>
                <a:lnTo>
                  <a:pt x="10672207" y="1139766"/>
                </a:lnTo>
                <a:lnTo>
                  <a:pt x="10710404" y="1139766"/>
                </a:lnTo>
                <a:lnTo>
                  <a:pt x="10710404" y="1068719"/>
                </a:lnTo>
                <a:cubicBezTo>
                  <a:pt x="10710404" y="1042755"/>
                  <a:pt x="10729699" y="1022628"/>
                  <a:pt x="10746251" y="1022628"/>
                </a:cubicBezTo>
                <a:cubicBezTo>
                  <a:pt x="10767504" y="1022628"/>
                  <a:pt x="10767504" y="1038553"/>
                  <a:pt x="10767504" y="1052657"/>
                </a:cubicBezTo>
                <a:lnTo>
                  <a:pt x="10767504" y="1139766"/>
                </a:lnTo>
                <a:lnTo>
                  <a:pt x="10805604" y="1139766"/>
                </a:lnTo>
                <a:lnTo>
                  <a:pt x="10805604" y="1048347"/>
                </a:lnTo>
                <a:cubicBezTo>
                  <a:pt x="10805604" y="1033157"/>
                  <a:pt x="10805604" y="997682"/>
                  <a:pt x="10762705" y="997682"/>
                </a:cubicBezTo>
                <a:cubicBezTo>
                  <a:pt x="10741089" y="997754"/>
                  <a:pt x="10721158" y="1009345"/>
                  <a:pt x="10710404" y="1028093"/>
                </a:cubicBezTo>
                <a:close/>
                <a:moveTo>
                  <a:pt x="11691292" y="901218"/>
                </a:moveTo>
                <a:lnTo>
                  <a:pt x="11642419" y="957691"/>
                </a:lnTo>
                <a:lnTo>
                  <a:pt x="11682771" y="957691"/>
                </a:lnTo>
                <a:lnTo>
                  <a:pt x="11731644" y="901218"/>
                </a:lnTo>
                <a:close/>
                <a:moveTo>
                  <a:pt x="10547331" y="583241"/>
                </a:moveTo>
                <a:lnTo>
                  <a:pt x="10606292" y="728608"/>
                </a:lnTo>
                <a:lnTo>
                  <a:pt x="10488370" y="728608"/>
                </a:lnTo>
                <a:close/>
                <a:moveTo>
                  <a:pt x="11138508" y="528864"/>
                </a:moveTo>
                <a:cubicBezTo>
                  <a:pt x="11138998" y="528864"/>
                  <a:pt x="11138508" y="848508"/>
                  <a:pt x="11138508" y="848508"/>
                </a:cubicBezTo>
                <a:lnTo>
                  <a:pt x="11223130" y="848508"/>
                </a:lnTo>
                <a:cubicBezTo>
                  <a:pt x="11223130" y="848596"/>
                  <a:pt x="11223228" y="708373"/>
                  <a:pt x="11223130" y="707844"/>
                </a:cubicBezTo>
                <a:cubicBezTo>
                  <a:pt x="11223130" y="707844"/>
                  <a:pt x="11394136" y="708236"/>
                  <a:pt x="11394136" y="707844"/>
                </a:cubicBezTo>
                <a:lnTo>
                  <a:pt x="11394136" y="848508"/>
                </a:lnTo>
                <a:cubicBezTo>
                  <a:pt x="11394234" y="848508"/>
                  <a:pt x="11478758" y="848508"/>
                  <a:pt x="11478856" y="848508"/>
                </a:cubicBezTo>
                <a:cubicBezTo>
                  <a:pt x="11479150" y="848156"/>
                  <a:pt x="11478856" y="528864"/>
                  <a:pt x="11478856" y="528864"/>
                </a:cubicBezTo>
                <a:cubicBezTo>
                  <a:pt x="11477974" y="528864"/>
                  <a:pt x="11394038" y="528864"/>
                  <a:pt x="11394136" y="528864"/>
                </a:cubicBezTo>
                <a:cubicBezTo>
                  <a:pt x="11394038" y="528835"/>
                  <a:pt x="11394136" y="657149"/>
                  <a:pt x="11394136" y="656678"/>
                </a:cubicBezTo>
                <a:lnTo>
                  <a:pt x="11223130" y="656678"/>
                </a:lnTo>
                <a:lnTo>
                  <a:pt x="11223130" y="528864"/>
                </a:lnTo>
                <a:close/>
                <a:moveTo>
                  <a:pt x="10075937" y="528864"/>
                </a:moveTo>
                <a:cubicBezTo>
                  <a:pt x="10076133" y="528933"/>
                  <a:pt x="10075937" y="583241"/>
                  <a:pt x="10075937" y="583241"/>
                </a:cubicBezTo>
                <a:lnTo>
                  <a:pt x="10205416" y="583241"/>
                </a:lnTo>
                <a:lnTo>
                  <a:pt x="10205416" y="848508"/>
                </a:lnTo>
                <a:lnTo>
                  <a:pt x="10290038" y="848508"/>
                </a:lnTo>
                <a:lnTo>
                  <a:pt x="10290038" y="583241"/>
                </a:lnTo>
                <a:lnTo>
                  <a:pt x="10419517" y="583241"/>
                </a:lnTo>
                <a:lnTo>
                  <a:pt x="10419517" y="528864"/>
                </a:lnTo>
                <a:cubicBezTo>
                  <a:pt x="10419517" y="528864"/>
                  <a:pt x="10076133" y="528933"/>
                  <a:pt x="10075937" y="528864"/>
                </a:cubicBezTo>
                <a:close/>
                <a:moveTo>
                  <a:pt x="10495421" y="528864"/>
                </a:moveTo>
                <a:lnTo>
                  <a:pt x="10346060" y="848508"/>
                </a:lnTo>
                <a:cubicBezTo>
                  <a:pt x="10346060" y="848508"/>
                  <a:pt x="10440378" y="848596"/>
                  <a:pt x="10440280" y="848508"/>
                </a:cubicBezTo>
                <a:cubicBezTo>
                  <a:pt x="10440672" y="848596"/>
                  <a:pt x="10467998" y="779773"/>
                  <a:pt x="10467998" y="779773"/>
                </a:cubicBezTo>
                <a:lnTo>
                  <a:pt x="10626663" y="779773"/>
                </a:lnTo>
                <a:cubicBezTo>
                  <a:pt x="10626663" y="779773"/>
                  <a:pt x="10654479" y="848508"/>
                  <a:pt x="10654381" y="848508"/>
                </a:cubicBezTo>
                <a:cubicBezTo>
                  <a:pt x="10653793" y="848508"/>
                  <a:pt x="10748895" y="848508"/>
                  <a:pt x="10748699" y="848508"/>
                </a:cubicBezTo>
                <a:lnTo>
                  <a:pt x="10599240" y="528864"/>
                </a:lnTo>
                <a:cubicBezTo>
                  <a:pt x="10599240" y="528864"/>
                  <a:pt x="10495421" y="529060"/>
                  <a:pt x="10495421" y="528864"/>
                </a:cubicBezTo>
                <a:close/>
                <a:moveTo>
                  <a:pt x="11545848" y="528864"/>
                </a:moveTo>
                <a:lnTo>
                  <a:pt x="11545848" y="848508"/>
                </a:lnTo>
                <a:lnTo>
                  <a:pt x="11630666" y="848508"/>
                </a:lnTo>
                <a:lnTo>
                  <a:pt x="11630666" y="528864"/>
                </a:lnTo>
                <a:close/>
                <a:moveTo>
                  <a:pt x="9553515" y="528864"/>
                </a:moveTo>
                <a:cubicBezTo>
                  <a:pt x="9554005" y="528864"/>
                  <a:pt x="9553515" y="848508"/>
                  <a:pt x="9553515" y="848508"/>
                </a:cubicBezTo>
                <a:lnTo>
                  <a:pt x="9638235" y="848508"/>
                </a:lnTo>
                <a:cubicBezTo>
                  <a:pt x="9638137" y="848596"/>
                  <a:pt x="9638333" y="708372"/>
                  <a:pt x="9638235" y="707844"/>
                </a:cubicBezTo>
                <a:cubicBezTo>
                  <a:pt x="9638235" y="707844"/>
                  <a:pt x="9809143" y="708235"/>
                  <a:pt x="9809143" y="707844"/>
                </a:cubicBezTo>
                <a:lnTo>
                  <a:pt x="9809143" y="848508"/>
                </a:lnTo>
                <a:cubicBezTo>
                  <a:pt x="9809241" y="848508"/>
                  <a:pt x="9893765" y="848508"/>
                  <a:pt x="9893863" y="848508"/>
                </a:cubicBezTo>
                <a:cubicBezTo>
                  <a:pt x="9894157" y="848156"/>
                  <a:pt x="9893863" y="528864"/>
                  <a:pt x="9893863" y="528864"/>
                </a:cubicBezTo>
                <a:cubicBezTo>
                  <a:pt x="9892982" y="528864"/>
                  <a:pt x="9809045" y="528864"/>
                  <a:pt x="9809143" y="528864"/>
                </a:cubicBezTo>
                <a:cubicBezTo>
                  <a:pt x="9809045" y="528835"/>
                  <a:pt x="9809143" y="657149"/>
                  <a:pt x="9809143" y="656678"/>
                </a:cubicBezTo>
                <a:lnTo>
                  <a:pt x="9638235" y="656678"/>
                </a:lnTo>
                <a:cubicBezTo>
                  <a:pt x="9638137" y="657589"/>
                  <a:pt x="9638235" y="528864"/>
                  <a:pt x="9638235" y="528864"/>
                </a:cubicBezTo>
                <a:close/>
                <a:moveTo>
                  <a:pt x="9960953" y="528864"/>
                </a:moveTo>
                <a:lnTo>
                  <a:pt x="9960953" y="848508"/>
                </a:lnTo>
                <a:lnTo>
                  <a:pt x="10045673" y="848508"/>
                </a:lnTo>
                <a:lnTo>
                  <a:pt x="10045673" y="528864"/>
                </a:lnTo>
                <a:close/>
                <a:moveTo>
                  <a:pt x="10929795" y="520972"/>
                </a:moveTo>
                <a:cubicBezTo>
                  <a:pt x="10895705" y="520037"/>
                  <a:pt x="10861435" y="525663"/>
                  <a:pt x="10828914" y="537904"/>
                </a:cubicBezTo>
                <a:cubicBezTo>
                  <a:pt x="10798464" y="549314"/>
                  <a:pt x="10772823" y="570783"/>
                  <a:pt x="10756241" y="598756"/>
                </a:cubicBezTo>
                <a:cubicBezTo>
                  <a:pt x="10740717" y="627243"/>
                  <a:pt x="10733146" y="659380"/>
                  <a:pt x="10734302" y="691800"/>
                </a:cubicBezTo>
                <a:cubicBezTo>
                  <a:pt x="10734233" y="714967"/>
                  <a:pt x="10738073" y="737980"/>
                  <a:pt x="10745663" y="759871"/>
                </a:cubicBezTo>
                <a:lnTo>
                  <a:pt x="10745663" y="759880"/>
                </a:lnTo>
                <a:cubicBezTo>
                  <a:pt x="10761403" y="800341"/>
                  <a:pt x="10795124" y="831133"/>
                  <a:pt x="10836847" y="843130"/>
                </a:cubicBezTo>
                <a:cubicBezTo>
                  <a:pt x="10864672" y="851890"/>
                  <a:pt x="10893673" y="856355"/>
                  <a:pt x="10922840" y="856372"/>
                </a:cubicBezTo>
                <a:cubicBezTo>
                  <a:pt x="10960234" y="856306"/>
                  <a:pt x="10997237" y="848747"/>
                  <a:pt x="11031654" y="834140"/>
                </a:cubicBezTo>
                <a:cubicBezTo>
                  <a:pt x="11061389" y="821282"/>
                  <a:pt x="11083318" y="795144"/>
                  <a:pt x="11090810" y="763621"/>
                </a:cubicBezTo>
                <a:cubicBezTo>
                  <a:pt x="11093210" y="753680"/>
                  <a:pt x="11094650" y="743533"/>
                  <a:pt x="11095120" y="733318"/>
                </a:cubicBezTo>
                <a:lnTo>
                  <a:pt x="11005895" y="733318"/>
                </a:lnTo>
                <a:cubicBezTo>
                  <a:pt x="11005993" y="745104"/>
                  <a:pt x="11003623" y="756780"/>
                  <a:pt x="10998941" y="767598"/>
                </a:cubicBezTo>
                <a:cubicBezTo>
                  <a:pt x="10991918" y="783450"/>
                  <a:pt x="10978442" y="795534"/>
                  <a:pt x="10961919" y="800790"/>
                </a:cubicBezTo>
                <a:cubicBezTo>
                  <a:pt x="10949294" y="804866"/>
                  <a:pt x="10936101" y="806919"/>
                  <a:pt x="10922840" y="806873"/>
                </a:cubicBezTo>
                <a:cubicBezTo>
                  <a:pt x="10907307" y="806833"/>
                  <a:pt x="10891910" y="803983"/>
                  <a:pt x="10877395" y="798460"/>
                </a:cubicBezTo>
                <a:cubicBezTo>
                  <a:pt x="10854849" y="789938"/>
                  <a:pt x="10837689" y="771214"/>
                  <a:pt x="10831167" y="748009"/>
                </a:cubicBezTo>
                <a:cubicBezTo>
                  <a:pt x="10825907" y="729738"/>
                  <a:pt x="10823175" y="710832"/>
                  <a:pt x="10823037" y="691820"/>
                </a:cubicBezTo>
                <a:cubicBezTo>
                  <a:pt x="10823086" y="668907"/>
                  <a:pt x="10826994" y="646167"/>
                  <a:pt x="10834595" y="624553"/>
                </a:cubicBezTo>
                <a:cubicBezTo>
                  <a:pt x="10842165" y="602725"/>
                  <a:pt x="10859188" y="585486"/>
                  <a:pt x="10880921" y="577649"/>
                </a:cubicBezTo>
                <a:cubicBezTo>
                  <a:pt x="10894378" y="572858"/>
                  <a:pt x="10908560" y="570417"/>
                  <a:pt x="10922840" y="570431"/>
                </a:cubicBezTo>
                <a:cubicBezTo>
                  <a:pt x="10935387" y="570428"/>
                  <a:pt x="10947864" y="572293"/>
                  <a:pt x="10959862" y="575964"/>
                </a:cubicBezTo>
                <a:cubicBezTo>
                  <a:pt x="10978118" y="581479"/>
                  <a:pt x="10992800" y="595124"/>
                  <a:pt x="10999627" y="612928"/>
                </a:cubicBezTo>
                <a:cubicBezTo>
                  <a:pt x="11002506" y="620816"/>
                  <a:pt x="11004063" y="629125"/>
                  <a:pt x="11004230" y="637521"/>
                </a:cubicBezTo>
                <a:lnTo>
                  <a:pt x="11093063" y="637521"/>
                </a:lnTo>
                <a:cubicBezTo>
                  <a:pt x="11092456" y="630719"/>
                  <a:pt x="11091437" y="623958"/>
                  <a:pt x="11090027" y="617276"/>
                </a:cubicBezTo>
                <a:cubicBezTo>
                  <a:pt x="11083112" y="584284"/>
                  <a:pt x="11060566" y="556724"/>
                  <a:pt x="11029597" y="543409"/>
                </a:cubicBezTo>
                <a:cubicBezTo>
                  <a:pt x="10997795" y="529404"/>
                  <a:pt x="10963885" y="521907"/>
                  <a:pt x="10929795" y="520972"/>
                </a:cubicBezTo>
                <a:close/>
                <a:moveTo>
                  <a:pt x="0" y="0"/>
                </a:moveTo>
                <a:lnTo>
                  <a:pt x="12193196" y="0"/>
                </a:lnTo>
                <a:lnTo>
                  <a:pt x="12193196" y="4738686"/>
                </a:lnTo>
                <a:lnTo>
                  <a:pt x="0" y="4738686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 tIns="684000" anchor="ctr">
            <a:noAutofit/>
          </a:bodyPr>
          <a:lstStyle>
            <a:lvl1pPr algn="ctr">
              <a:defRPr sz="1800"/>
            </a:lvl1pPr>
          </a:lstStyle>
          <a:p>
            <a:r>
              <a:rPr lang="en-GB"/>
              <a:t> </a:t>
            </a:r>
          </a:p>
        </p:txBody>
      </p:sp>
      <p:grpSp>
        <p:nvGrpSpPr>
          <p:cNvPr id="16" name="グループ化 39">
            <a:extLst>
              <a:ext uri="{FF2B5EF4-FFF2-40B4-BE49-F238E27FC236}">
                <a16:creationId xmlns:a16="http://schemas.microsoft.com/office/drawing/2014/main" id="{6809A62B-C3B4-4040-AF1D-DC2BF3BDB821}"/>
              </a:ext>
            </a:extLst>
          </p:cNvPr>
          <p:cNvGrpSpPr/>
          <p:nvPr/>
        </p:nvGrpSpPr>
        <p:grpSpPr bwMode="gray">
          <a:xfrm>
            <a:off x="0" y="4739176"/>
            <a:ext cx="12192000" cy="129984"/>
            <a:chOff x="324487" y="2057426"/>
            <a:chExt cx="8495663" cy="97488"/>
          </a:xfrm>
        </p:grpSpPr>
        <p:sp>
          <p:nvSpPr>
            <p:cNvPr id="17" name="正方形/長方形 11">
              <a:extLst>
                <a:ext uri="{FF2B5EF4-FFF2-40B4-BE49-F238E27FC236}">
                  <a16:creationId xmlns:a16="http://schemas.microsoft.com/office/drawing/2014/main" id="{DE7BDB25-5A30-4A34-ABFC-B07249D3BF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4489" y="2057426"/>
              <a:ext cx="8495661" cy="97488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GB" altLang="ja-JP" sz="4623"/>
            </a:p>
          </p:txBody>
        </p:sp>
        <p:grpSp>
          <p:nvGrpSpPr>
            <p:cNvPr id="18" name="グループ化 16">
              <a:extLst>
                <a:ext uri="{FF2B5EF4-FFF2-40B4-BE49-F238E27FC236}">
                  <a16:creationId xmlns:a16="http://schemas.microsoft.com/office/drawing/2014/main" id="{74096499-38D4-462C-8826-1DB8FC711C1A}"/>
                </a:ext>
              </a:extLst>
            </p:cNvPr>
            <p:cNvGrpSpPr/>
            <p:nvPr/>
          </p:nvGrpSpPr>
          <p:grpSpPr bwMode="gray">
            <a:xfrm>
              <a:off x="324487" y="2057426"/>
              <a:ext cx="1938812" cy="97488"/>
              <a:chOff x="312738" y="2747963"/>
              <a:chExt cx="1970087" cy="109537"/>
            </a:xfrm>
          </p:grpSpPr>
          <p:sp>
            <p:nvSpPr>
              <p:cNvPr id="19" name="正方形/長方形 42">
                <a:extLst>
                  <a:ext uri="{FF2B5EF4-FFF2-40B4-BE49-F238E27FC236}">
                    <a16:creationId xmlns:a16="http://schemas.microsoft.com/office/drawing/2014/main" id="{177D7250-BABC-4571-82D6-043E996D9DB0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1970087" cy="109537"/>
              </a:xfrm>
              <a:prstGeom prst="rect">
                <a:avLst/>
              </a:prstGeom>
              <a:solidFill>
                <a:srgbClr val="FF002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altLang="ja-JP" sz="24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0" name="正方形/長方形 43">
                <a:extLst>
                  <a:ext uri="{FF2B5EF4-FFF2-40B4-BE49-F238E27FC236}">
                    <a16:creationId xmlns:a16="http://schemas.microsoft.com/office/drawing/2014/main" id="{BFDA5A74-11DA-4E7F-9508-F12960D3B74E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985837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altLang="ja-JP" sz="24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pic>
        <p:nvPicPr>
          <p:cNvPr id="23" name="Confidential" hidden="1">
            <a:extLst>
              <a:ext uri="{FF2B5EF4-FFF2-40B4-BE49-F238E27FC236}">
                <a16:creationId xmlns:a16="http://schemas.microsoft.com/office/drawing/2014/main" id="{F228D1DE-D36C-4E9B-BD91-2341FC0B7E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7200" y="345600"/>
            <a:ext cx="1671890" cy="266400"/>
          </a:xfrm>
          <a:prstGeom prst="rect">
            <a:avLst/>
          </a:prstGeom>
        </p:spPr>
      </p:pic>
      <p:pic>
        <p:nvPicPr>
          <p:cNvPr id="24" name="Public">
            <a:extLst>
              <a:ext uri="{FF2B5EF4-FFF2-40B4-BE49-F238E27FC236}">
                <a16:creationId xmlns:a16="http://schemas.microsoft.com/office/drawing/2014/main" id="{335E045B-8C20-4063-A4AC-CE1126B6A6B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5718" y="345600"/>
            <a:ext cx="1671890" cy="266400"/>
          </a:xfrm>
          <a:prstGeom prst="rect">
            <a:avLst/>
          </a:prstGeom>
        </p:spPr>
      </p:pic>
      <p:pic>
        <p:nvPicPr>
          <p:cNvPr id="25" name="Internal" hidden="1">
            <a:extLst>
              <a:ext uri="{FF2B5EF4-FFF2-40B4-BE49-F238E27FC236}">
                <a16:creationId xmlns:a16="http://schemas.microsoft.com/office/drawing/2014/main" id="{CFAE1106-3574-4FE9-B82F-D12EAEB197C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5718" y="344152"/>
            <a:ext cx="1671890" cy="266400"/>
          </a:xfrm>
          <a:prstGeom prst="rect">
            <a:avLst/>
          </a:prstGeom>
        </p:spPr>
      </p:pic>
      <p:pic>
        <p:nvPicPr>
          <p:cNvPr id="27" name="Strictly" hidden="1">
            <a:extLst>
              <a:ext uri="{FF2B5EF4-FFF2-40B4-BE49-F238E27FC236}">
                <a16:creationId xmlns:a16="http://schemas.microsoft.com/office/drawing/2014/main" id="{C9A12DA8-BB00-43A2-B6FC-35D89D95C92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61960" y="345600"/>
            <a:ext cx="1671890" cy="266400"/>
          </a:xfrm>
          <a:prstGeom prst="rect">
            <a:avLst/>
          </a:prstGeom>
        </p:spPr>
      </p:pic>
      <p:sp>
        <p:nvSpPr>
          <p:cNvPr id="34" name="Footer Placeholder 4">
            <a:extLst>
              <a:ext uri="{FF2B5EF4-FFF2-40B4-BE49-F238E27FC236}">
                <a16:creationId xmlns:a16="http://schemas.microsoft.com/office/drawing/2014/main" id="{0486618B-68FB-45E3-A35A-DDD33A48B6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DC8ACF76-1594-442B-8415-8F2C0043D3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C24EC536-6FE3-4540-8D85-74C58F0BF69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36A589DD-7E0A-4E4B-95D5-D702B10B00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78800" y="6544105"/>
            <a:ext cx="2876400" cy="154800"/>
          </a:xfrm>
        </p:spPr>
        <p:txBody>
          <a:bodyPr tIns="0" anchor="ctr"/>
          <a:lstStyle>
            <a:lvl1pPr>
              <a:defRPr sz="900">
                <a:latin typeface="+mn-lt"/>
                <a:cs typeface="Arial" panose="020B0604020202020204" pitchFamily="34" charset="0"/>
              </a:defRPr>
            </a:lvl1pPr>
            <a:lvl2pPr>
              <a:defRPr sz="930"/>
            </a:lvl2pPr>
            <a:lvl3pPr>
              <a:defRPr sz="930"/>
            </a:lvl3pPr>
            <a:lvl4pPr>
              <a:defRPr sz="930"/>
            </a:lvl4pPr>
            <a:lvl5pPr>
              <a:defRPr sz="930"/>
            </a:lvl5pPr>
          </a:lstStyle>
          <a:p>
            <a:pPr lvl="0"/>
            <a:r>
              <a:rPr lang="en-GB"/>
              <a:t>YYYY-MM-DD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96F3ED43-7C10-441F-A85E-DD38A4A6966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9330" y="6370483"/>
            <a:ext cx="2663370" cy="363891"/>
          </a:xfrm>
          <a:prstGeom prst="rect">
            <a:avLst/>
          </a:prstGeom>
        </p:spPr>
      </p:pic>
      <p:sp>
        <p:nvSpPr>
          <p:cNvPr id="43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A1D0E42A-229D-4B51-85D9-00EA3C02B2A2}"/>
              </a:ext>
            </a:extLst>
          </p:cNvPr>
          <p:cNvSpPr txBox="1"/>
          <p:nvPr userDrawn="1"/>
        </p:nvSpPr>
        <p:spPr bwMode="gray">
          <a:xfrm>
            <a:off x="4856400" y="6540775"/>
            <a:ext cx="24840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23 Hitachi Energy. All rights reserved.</a:t>
            </a:r>
            <a:endParaRPr kumimoji="0" lang="en-GB" sz="900" b="0" i="0" u="none" strike="noStrike" kern="1200" cap="none" spc="-1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622B9DBC-F3CB-4876-8A41-37F96EA18B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68000" y="5090400"/>
            <a:ext cx="10555200" cy="493200"/>
          </a:xfrm>
        </p:spPr>
        <p:txBody>
          <a:bodyPr anchor="t"/>
          <a:lstStyle>
            <a:lvl1pPr algn="l">
              <a:lnSpc>
                <a:spcPct val="100000"/>
              </a:lnSpc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pl-PL" err="1"/>
              <a:t>Click</a:t>
            </a:r>
            <a:r>
              <a:rPr lang="pl-PL"/>
              <a:t> to insert </a:t>
            </a:r>
            <a:r>
              <a:rPr lang="en-GB"/>
              <a:t>Title</a:t>
            </a:r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2F3D19D8-C5FF-4F6C-8CA3-962131EC982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78800" y="5583600"/>
            <a:ext cx="10555200" cy="327600"/>
          </a:xfrm>
        </p:spPr>
        <p:txBody>
          <a:bodyPr tIns="0"/>
          <a:lstStyle>
            <a:lvl1pPr marL="0" indent="0" algn="l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err="1"/>
              <a:t>Click</a:t>
            </a:r>
            <a:r>
              <a:rPr lang="pl-PL"/>
              <a:t> to insert </a:t>
            </a:r>
            <a:r>
              <a:rPr lang="en-GB"/>
              <a:t>Subtitl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5452E9B-8B9B-4AFA-9E46-A271FE2529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78800" y="5972400"/>
            <a:ext cx="10555200" cy="306000"/>
          </a:xfrm>
        </p:spPr>
        <p:txBody>
          <a:bodyPr tIns="0"/>
          <a:lstStyle>
            <a:lvl1pPr>
              <a:defRPr>
                <a:latin typeface="Arial Nova Light" panose="020B0304020202020204" pitchFamily="34" charset="0"/>
              </a:defRPr>
            </a:lvl1pPr>
          </a:lstStyle>
          <a:p>
            <a:pPr lvl="0"/>
            <a:r>
              <a:rPr lang="pl-PL" err="1"/>
              <a:t>Click</a:t>
            </a:r>
            <a:r>
              <a:rPr lang="pl-PL"/>
              <a:t> to insert </a:t>
            </a:r>
            <a:r>
              <a:rPr lang="en-GB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265181682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)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9C59FB2E-26EE-4C62-96FC-DAC9216CD4A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5" y="4887774"/>
            <a:ext cx="2952153" cy="1457464"/>
          </a:xfrm>
          <a:solidFill>
            <a:srgbClr val="B3B3B3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E2E51721-D2A7-43F7-AE5D-32351049CC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263525" y="1376172"/>
            <a:ext cx="2952156" cy="1476762"/>
          </a:xfrm>
          <a:solidFill>
            <a:schemeClr val="tx2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3119F755-6EE0-4D98-8C45-43092D7CA7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263523" y="3125396"/>
            <a:ext cx="2952155" cy="1457463"/>
          </a:xfrm>
          <a:solidFill>
            <a:srgbClr val="4D4D4D"/>
          </a:solidFill>
        </p:spPr>
        <p:txBody>
          <a:bodyPr lIns="108000" tIns="108000" r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56FDF79A-1A36-4C91-8B67-51292BAD1F4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489049" y="1376364"/>
            <a:ext cx="8437840" cy="4968873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55C6F6F-1E93-42EA-8E64-770254FABFE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A5FD4ECE-1217-4037-AF75-04E623671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57464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3)  Numbers &amp; (3)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8E9939FA-DD63-4218-9D50-656BD6554C2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263524" y="3416160"/>
            <a:ext cx="3528219" cy="1449415"/>
          </a:xfrm>
          <a:solidFill>
            <a:schemeClr val="tx2"/>
          </a:solidFill>
        </p:spPr>
        <p:txBody>
          <a:bodyPr lIns="108000" tIns="108000" rIns="108000" b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3EF0C493-4E28-4B4C-94D0-38B1AFE873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4325749" y="3416160"/>
            <a:ext cx="3528036" cy="1449415"/>
          </a:xfrm>
          <a:solidFill>
            <a:srgbClr val="4D4D4D"/>
          </a:solidFill>
        </p:spPr>
        <p:txBody>
          <a:bodyPr lIns="108000" tIns="108000" rIns="108000" b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09D0A801-928A-4A3A-915F-59029C73D8B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381696" y="3416160"/>
            <a:ext cx="3546779" cy="1449415"/>
          </a:xfrm>
          <a:solidFill>
            <a:srgbClr val="B3B3B3"/>
          </a:solidFill>
        </p:spPr>
        <p:txBody>
          <a:bodyPr lIns="108000" tIns="108000" rIns="108000" bIns="1080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EB48B66A-D6B5-4E4F-844E-EF0C26AFB55F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263526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/>
              <a:t>0</a:t>
            </a:r>
            <a:r>
              <a:rPr lang="pl-PL"/>
              <a:t>1</a:t>
            </a:r>
            <a:r>
              <a:rPr lang="en-US"/>
              <a:t>.</a:t>
            </a:r>
            <a:endParaRPr lang="en-GB"/>
          </a:p>
        </p:txBody>
      </p:sp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83FD57A8-6479-4985-9F0E-144CBA3F5AFA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4325561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rgbClr val="4D4D4D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/>
              <a:t>0</a:t>
            </a:r>
            <a:r>
              <a:rPr lang="pl-PL"/>
              <a:t>2</a:t>
            </a:r>
            <a:r>
              <a:rPr lang="en-US"/>
              <a:t>.</a:t>
            </a:r>
            <a:endParaRPr lang="en-GB"/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4148E4F7-968B-4124-BA4A-561A36CD2CF6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8381692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rgbClr val="B3B3B3"/>
                </a:solidFill>
                <a:latin typeface="+mn-lt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/>
              <a:t>0</a:t>
            </a:r>
            <a:r>
              <a:rPr lang="pl-PL"/>
              <a:t>3</a:t>
            </a:r>
            <a:r>
              <a:rPr lang="en-US"/>
              <a:t>.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C73073-C2B0-4F59-B2BD-DE1DD6C5A903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B426BB0C-F133-4E02-9BCA-328562F649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43407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4) &amp; Content (4) &amp; Numbers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D1D57BDC-6E92-486A-AE2C-5DDC13E1D23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263525" y="3416161"/>
            <a:ext cx="270000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02392784-44EE-4314-84BD-B868C1661DD3}"/>
              </a:ext>
            </a:extLst>
          </p:cNvPr>
          <p:cNvSpPr>
            <a:spLocks noGrp="1"/>
          </p:cNvSpPr>
          <p:nvPr>
            <p:ph sz="quarter" idx="28"/>
          </p:nvPr>
        </p:nvSpPr>
        <p:spPr bwMode="gray">
          <a:xfrm>
            <a:off x="263525" y="3787380"/>
            <a:ext cx="2700000" cy="96573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3D96C7B1-1BCB-4F43-BFC8-1399F3D1354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3251841" y="3416161"/>
            <a:ext cx="270000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CDAC2527-DFB4-4638-8DCD-E04B936CE13D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3251841" y="3787380"/>
            <a:ext cx="2700000" cy="96573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AB5DAA13-2760-45CC-A6EC-7BEB802406F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 bwMode="gray">
          <a:xfrm>
            <a:off x="6240158" y="3416161"/>
            <a:ext cx="270000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8E59A62E-84C3-48BA-868C-E3454A6916E1}"/>
              </a:ext>
            </a:extLst>
          </p:cNvPr>
          <p:cNvSpPr>
            <a:spLocks noGrp="1"/>
          </p:cNvSpPr>
          <p:nvPr>
            <p:ph sz="quarter" idx="32"/>
          </p:nvPr>
        </p:nvSpPr>
        <p:spPr bwMode="gray">
          <a:xfrm>
            <a:off x="6240158" y="3787380"/>
            <a:ext cx="2700000" cy="96573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79BBCBA5-D7D9-4D52-8F30-668C4D95A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 bwMode="gray">
          <a:xfrm>
            <a:off x="9228475" y="3416161"/>
            <a:ext cx="270000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8" name="Content Placeholder 3">
            <a:extLst>
              <a:ext uri="{FF2B5EF4-FFF2-40B4-BE49-F238E27FC236}">
                <a16:creationId xmlns:a16="http://schemas.microsoft.com/office/drawing/2014/main" id="{F2921E8B-05BF-434D-A65F-66946D72EAE7}"/>
              </a:ext>
            </a:extLst>
          </p:cNvPr>
          <p:cNvSpPr>
            <a:spLocks noGrp="1"/>
          </p:cNvSpPr>
          <p:nvPr>
            <p:ph sz="quarter" idx="34"/>
          </p:nvPr>
        </p:nvSpPr>
        <p:spPr bwMode="gray">
          <a:xfrm>
            <a:off x="9228475" y="3787380"/>
            <a:ext cx="2700000" cy="96573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Content Placeholder 6">
            <a:extLst>
              <a:ext uri="{FF2B5EF4-FFF2-40B4-BE49-F238E27FC236}">
                <a16:creationId xmlns:a16="http://schemas.microsoft.com/office/drawing/2014/main" id="{D4A65557-9CD2-406D-8B52-6943070AE0AB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3251841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2.</a:t>
            </a:r>
          </a:p>
        </p:txBody>
      </p:sp>
      <p:sp>
        <p:nvSpPr>
          <p:cNvPr id="39" name="Content Placeholder 6">
            <a:extLst>
              <a:ext uri="{FF2B5EF4-FFF2-40B4-BE49-F238E27FC236}">
                <a16:creationId xmlns:a16="http://schemas.microsoft.com/office/drawing/2014/main" id="{018F2D4F-C26A-4C5E-A29A-571528EABD05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6240156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3.</a:t>
            </a:r>
          </a:p>
        </p:txBody>
      </p:sp>
      <p:sp>
        <p:nvSpPr>
          <p:cNvPr id="41" name="Content Placeholder 6">
            <a:extLst>
              <a:ext uri="{FF2B5EF4-FFF2-40B4-BE49-F238E27FC236}">
                <a16:creationId xmlns:a16="http://schemas.microsoft.com/office/drawing/2014/main" id="{6F08678E-73C5-4F03-9E09-85D20BD9B99F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263526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1.</a:t>
            </a:r>
          </a:p>
        </p:txBody>
      </p:sp>
      <p:sp>
        <p:nvSpPr>
          <p:cNvPr id="42" name="Content Placeholder 6">
            <a:extLst>
              <a:ext uri="{FF2B5EF4-FFF2-40B4-BE49-F238E27FC236}">
                <a16:creationId xmlns:a16="http://schemas.microsoft.com/office/drawing/2014/main" id="{38A6D437-EBE7-487A-A3B0-DE8D773F65CB}"/>
              </a:ext>
            </a:extLst>
          </p:cNvPr>
          <p:cNvSpPr>
            <a:spLocks noGrp="1"/>
          </p:cNvSpPr>
          <p:nvPr>
            <p:ph sz="quarter" idx="46" hasCustomPrompt="1"/>
          </p:nvPr>
        </p:nvSpPr>
        <p:spPr>
          <a:xfrm>
            <a:off x="9228471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4.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9F5DB350-91E1-4DA9-BF69-38FC41505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973EA3-348D-49E5-B5B8-CA8C8916C328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DAD0F164-0FE9-4627-8AE4-C4EBFB8884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78814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4.1) &amp; Content (4.1) &amp; Numbers (4.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BF68FEBD-BEFC-4726-874B-6289F0616A0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1770501" y="1473599"/>
            <a:ext cx="1878632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092CBB90-B3D5-45EB-A5C7-4055E1FF503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 bwMode="gray">
          <a:xfrm>
            <a:off x="1770501" y="2805379"/>
            <a:ext cx="1878632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728B220A-6603-4016-8181-30353C6AE4C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 bwMode="gray">
          <a:xfrm>
            <a:off x="1770501" y="4122968"/>
            <a:ext cx="1878632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E30EC2DD-1F4A-4356-9646-C28E53D7970A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 bwMode="gray">
          <a:xfrm>
            <a:off x="1770501" y="5443614"/>
            <a:ext cx="1878632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</a:t>
            </a:r>
          </a:p>
        </p:txBody>
      </p:sp>
      <p:sp>
        <p:nvSpPr>
          <p:cNvPr id="49" name="Content Placeholder 3">
            <a:extLst>
              <a:ext uri="{FF2B5EF4-FFF2-40B4-BE49-F238E27FC236}">
                <a16:creationId xmlns:a16="http://schemas.microsoft.com/office/drawing/2014/main" id="{CFBBB2FF-A24B-4F09-BA72-DC718D4331B3}"/>
              </a:ext>
            </a:extLst>
          </p:cNvPr>
          <p:cNvSpPr>
            <a:spLocks noGrp="1"/>
          </p:cNvSpPr>
          <p:nvPr>
            <p:ph sz="quarter" idx="38"/>
          </p:nvPr>
        </p:nvSpPr>
        <p:spPr bwMode="gray">
          <a:xfrm>
            <a:off x="3921690" y="2705088"/>
            <a:ext cx="8006785" cy="100283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0" name="Content Placeholder 3">
            <a:extLst>
              <a:ext uri="{FF2B5EF4-FFF2-40B4-BE49-F238E27FC236}">
                <a16:creationId xmlns:a16="http://schemas.microsoft.com/office/drawing/2014/main" id="{CB993417-83D5-41F8-BAF9-2986F007C1C6}"/>
              </a:ext>
            </a:extLst>
          </p:cNvPr>
          <p:cNvSpPr>
            <a:spLocks noGrp="1"/>
          </p:cNvSpPr>
          <p:nvPr>
            <p:ph sz="quarter" idx="45"/>
          </p:nvPr>
        </p:nvSpPr>
        <p:spPr bwMode="gray">
          <a:xfrm>
            <a:off x="3921690" y="1376363"/>
            <a:ext cx="8006785" cy="100283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1" name="Content Placeholder 3">
            <a:extLst>
              <a:ext uri="{FF2B5EF4-FFF2-40B4-BE49-F238E27FC236}">
                <a16:creationId xmlns:a16="http://schemas.microsoft.com/office/drawing/2014/main" id="{8152D743-82D2-45BC-9D72-C38ED8D00974}"/>
              </a:ext>
            </a:extLst>
          </p:cNvPr>
          <p:cNvSpPr>
            <a:spLocks noGrp="1"/>
          </p:cNvSpPr>
          <p:nvPr>
            <p:ph sz="quarter" idx="46"/>
          </p:nvPr>
        </p:nvSpPr>
        <p:spPr bwMode="gray">
          <a:xfrm>
            <a:off x="3921690" y="4025732"/>
            <a:ext cx="8006785" cy="100283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2" name="Content Placeholder 3">
            <a:extLst>
              <a:ext uri="{FF2B5EF4-FFF2-40B4-BE49-F238E27FC236}">
                <a16:creationId xmlns:a16="http://schemas.microsoft.com/office/drawing/2014/main" id="{9C85D89A-0FCA-434E-8A47-ABFF684F433A}"/>
              </a:ext>
            </a:extLst>
          </p:cNvPr>
          <p:cNvSpPr>
            <a:spLocks noGrp="1"/>
          </p:cNvSpPr>
          <p:nvPr>
            <p:ph sz="quarter" idx="47"/>
          </p:nvPr>
        </p:nvSpPr>
        <p:spPr bwMode="gray">
          <a:xfrm>
            <a:off x="3921690" y="5346378"/>
            <a:ext cx="8006785" cy="100283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8" name="Content Placeholder 6">
            <a:extLst>
              <a:ext uri="{FF2B5EF4-FFF2-40B4-BE49-F238E27FC236}">
                <a16:creationId xmlns:a16="http://schemas.microsoft.com/office/drawing/2014/main" id="{287FBD57-6702-4F91-B717-C913C186C628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263526" y="2699701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2.</a:t>
            </a:r>
          </a:p>
        </p:txBody>
      </p:sp>
      <p:sp>
        <p:nvSpPr>
          <p:cNvPr id="39" name="Content Placeholder 6">
            <a:extLst>
              <a:ext uri="{FF2B5EF4-FFF2-40B4-BE49-F238E27FC236}">
                <a16:creationId xmlns:a16="http://schemas.microsoft.com/office/drawing/2014/main" id="{D3A403B4-1233-48D9-939E-539F1DEE6C17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263526" y="4022931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3.</a:t>
            </a:r>
          </a:p>
        </p:txBody>
      </p:sp>
      <p:sp>
        <p:nvSpPr>
          <p:cNvPr id="40" name="Content Placeholder 6">
            <a:extLst>
              <a:ext uri="{FF2B5EF4-FFF2-40B4-BE49-F238E27FC236}">
                <a16:creationId xmlns:a16="http://schemas.microsoft.com/office/drawing/2014/main" id="{2D403FEE-1DE0-489E-93AD-696B7F46C4DA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263526" y="1376363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1.</a:t>
            </a:r>
          </a:p>
        </p:txBody>
      </p:sp>
      <p:sp>
        <p:nvSpPr>
          <p:cNvPr id="41" name="Content Placeholder 6">
            <a:extLst>
              <a:ext uri="{FF2B5EF4-FFF2-40B4-BE49-F238E27FC236}">
                <a16:creationId xmlns:a16="http://schemas.microsoft.com/office/drawing/2014/main" id="{DA07BDAE-41C2-4483-8E4F-05FBB75EBBCB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263526" y="5346378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4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964E16CA-A3E9-4322-B9BE-4FF2A7C5C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D8823674-FBB1-4551-AC02-90DB5D85F417}"/>
              </a:ext>
            </a:extLst>
          </p:cNvPr>
          <p:cNvSpPr>
            <a:spLocks noGrp="1"/>
          </p:cNvSpPr>
          <p:nvPr>
            <p:ph sz="quarter" idx="53"/>
          </p:nvPr>
        </p:nvSpPr>
        <p:spPr bwMode="gray">
          <a:xfrm>
            <a:off x="1770502" y="1844826"/>
            <a:ext cx="1878630" cy="53437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022D9BBD-A252-4309-A295-ED6177147C22}"/>
              </a:ext>
            </a:extLst>
          </p:cNvPr>
          <p:cNvSpPr>
            <a:spLocks noGrp="1"/>
          </p:cNvSpPr>
          <p:nvPr>
            <p:ph sz="quarter" idx="54"/>
          </p:nvPr>
        </p:nvSpPr>
        <p:spPr bwMode="gray">
          <a:xfrm>
            <a:off x="1770502" y="3178604"/>
            <a:ext cx="1878630" cy="53437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94C57C6C-1977-455A-A9A5-50449BAFD477}"/>
              </a:ext>
            </a:extLst>
          </p:cNvPr>
          <p:cNvSpPr>
            <a:spLocks noGrp="1"/>
          </p:cNvSpPr>
          <p:nvPr>
            <p:ph sz="quarter" idx="55"/>
          </p:nvPr>
        </p:nvSpPr>
        <p:spPr bwMode="gray">
          <a:xfrm>
            <a:off x="1770502" y="4494195"/>
            <a:ext cx="1878630" cy="53437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1CC08C47-21F2-4262-A804-D297AEF30EEC}"/>
              </a:ext>
            </a:extLst>
          </p:cNvPr>
          <p:cNvSpPr>
            <a:spLocks noGrp="1"/>
          </p:cNvSpPr>
          <p:nvPr>
            <p:ph sz="quarter" idx="56"/>
          </p:nvPr>
        </p:nvSpPr>
        <p:spPr bwMode="gray">
          <a:xfrm>
            <a:off x="1770502" y="5814841"/>
            <a:ext cx="1878630" cy="53437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82CADA-9D05-4BC9-9B22-DBA7C65BDEA5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292C7BF6-221B-4AEA-95B3-C1AA8E5D9E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29118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Content (3) &amp; Numbers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334276D4-69E8-479D-9F34-5E846D41D7C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263524" y="3416161"/>
            <a:ext cx="3528219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D78A5E39-BD74-4E47-BCC6-1789A4ECF3F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4325749" y="3416161"/>
            <a:ext cx="352803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25E45DFB-3F74-413C-840C-C77358A01D7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381696" y="3416161"/>
            <a:ext cx="3546779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12C3E05B-F4DE-48A5-96D0-3C4010D5B8F8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4325750" y="3787380"/>
            <a:ext cx="3528034" cy="96573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Content Placeholder 3">
            <a:extLst>
              <a:ext uri="{FF2B5EF4-FFF2-40B4-BE49-F238E27FC236}">
                <a16:creationId xmlns:a16="http://schemas.microsoft.com/office/drawing/2014/main" id="{732C4B7D-BBBD-47FD-B2B2-17406547E1D4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8381697" y="3787380"/>
            <a:ext cx="3546779" cy="96573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991CCDC2-331B-485D-A908-198D803BF9B8}"/>
              </a:ext>
            </a:extLst>
          </p:cNvPr>
          <p:cNvSpPr>
            <a:spLocks noGrp="1"/>
          </p:cNvSpPr>
          <p:nvPr>
            <p:ph sz="quarter" idx="28"/>
          </p:nvPr>
        </p:nvSpPr>
        <p:spPr bwMode="gray">
          <a:xfrm>
            <a:off x="263524" y="3787380"/>
            <a:ext cx="3528219" cy="96573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6">
            <a:extLst>
              <a:ext uri="{FF2B5EF4-FFF2-40B4-BE49-F238E27FC236}">
                <a16:creationId xmlns:a16="http://schemas.microsoft.com/office/drawing/2014/main" id="{FF461397-9E3E-4AF0-993E-CDCD014A8749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263526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1.</a:t>
            </a:r>
          </a:p>
        </p:txBody>
      </p:sp>
      <p:sp>
        <p:nvSpPr>
          <p:cNvPr id="28" name="Content Placeholder 6">
            <a:extLst>
              <a:ext uri="{FF2B5EF4-FFF2-40B4-BE49-F238E27FC236}">
                <a16:creationId xmlns:a16="http://schemas.microsoft.com/office/drawing/2014/main" id="{A6A7DFB3-349A-4DAD-B217-CF4EC389CA56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4325561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2.</a:t>
            </a:r>
          </a:p>
        </p:txBody>
      </p:sp>
      <p:sp>
        <p:nvSpPr>
          <p:cNvPr id="29" name="Content Placeholder 6">
            <a:extLst>
              <a:ext uri="{FF2B5EF4-FFF2-40B4-BE49-F238E27FC236}">
                <a16:creationId xmlns:a16="http://schemas.microsoft.com/office/drawing/2014/main" id="{8F31884C-A4A7-4688-ACCF-FD03ED05AA24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8381692" y="2341885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3.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A74342C-ADC8-4817-82CE-516211319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8E4E73-ADEC-442F-A098-73C03F88ADA3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64B80D57-30E3-4F80-83B9-AA30A5759E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32352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Content (6) &amp; Numbers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EBB36A58-C548-4E9E-85C3-DEB5102C51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1787157" y="4985012"/>
            <a:ext cx="1868031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A8E13FBB-E82B-48DF-885F-E6FC647B2E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770501" y="1473599"/>
            <a:ext cx="1878632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BEE4DB48-EE10-4614-9031-A00AE1B5E19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770499" y="3240301"/>
            <a:ext cx="1878631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65119589-6F57-4A69-9736-D33271CF00E2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1770502" y="1844826"/>
            <a:ext cx="1878630" cy="1008108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628A1FB3-6503-43D5-9169-34BFEED09C8F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1770502" y="3600531"/>
            <a:ext cx="1878630" cy="98233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C5AA962-6BDD-4F47-9221-9D1520C30F36}"/>
              </a:ext>
            </a:extLst>
          </p:cNvPr>
          <p:cNvSpPr>
            <a:spLocks noGrp="1"/>
          </p:cNvSpPr>
          <p:nvPr>
            <p:ph sz="quarter" idx="28"/>
          </p:nvPr>
        </p:nvSpPr>
        <p:spPr bwMode="gray">
          <a:xfrm>
            <a:off x="1770502" y="5362908"/>
            <a:ext cx="1878630" cy="98233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 marL="0" indent="0">
              <a:lnSpc>
                <a:spcPct val="100000"/>
              </a:lnSpc>
              <a:spcBef>
                <a:spcPts val="600"/>
              </a:spcBef>
              <a:buNone/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8" name="Content Placeholder 3">
            <a:extLst>
              <a:ext uri="{FF2B5EF4-FFF2-40B4-BE49-F238E27FC236}">
                <a16:creationId xmlns:a16="http://schemas.microsoft.com/office/drawing/2014/main" id="{2F992E05-4AC2-4005-9AA5-948676B96ADD}"/>
              </a:ext>
            </a:extLst>
          </p:cNvPr>
          <p:cNvSpPr>
            <a:spLocks noGrp="1"/>
          </p:cNvSpPr>
          <p:nvPr>
            <p:ph sz="quarter" idx="29"/>
          </p:nvPr>
        </p:nvSpPr>
        <p:spPr bwMode="gray">
          <a:xfrm>
            <a:off x="3921690" y="1376172"/>
            <a:ext cx="8006785" cy="1476762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9" name="Content Placeholder 3">
            <a:extLst>
              <a:ext uri="{FF2B5EF4-FFF2-40B4-BE49-F238E27FC236}">
                <a16:creationId xmlns:a16="http://schemas.microsoft.com/office/drawing/2014/main" id="{C7D8B73D-DFFB-4564-9913-1F4A91652E6B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3921690" y="3125397"/>
            <a:ext cx="8006785" cy="1457464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0" name="Content Placeholder 3">
            <a:extLst>
              <a:ext uri="{FF2B5EF4-FFF2-40B4-BE49-F238E27FC236}">
                <a16:creationId xmlns:a16="http://schemas.microsoft.com/office/drawing/2014/main" id="{26FC5483-9CF4-4306-8EF5-D9A805A0E36F}"/>
              </a:ext>
            </a:extLst>
          </p:cNvPr>
          <p:cNvSpPr>
            <a:spLocks noGrp="1"/>
          </p:cNvSpPr>
          <p:nvPr>
            <p:ph sz="quarter" idx="31"/>
          </p:nvPr>
        </p:nvSpPr>
        <p:spPr bwMode="gray">
          <a:xfrm>
            <a:off x="3921690" y="4887774"/>
            <a:ext cx="8006785" cy="1457464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6">
            <a:extLst>
              <a:ext uri="{FF2B5EF4-FFF2-40B4-BE49-F238E27FC236}">
                <a16:creationId xmlns:a16="http://schemas.microsoft.com/office/drawing/2014/main" id="{DCC4896F-69DF-4D11-A491-DA33D9164972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263526" y="1376363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1.</a:t>
            </a:r>
          </a:p>
        </p:txBody>
      </p:sp>
      <p:sp>
        <p:nvSpPr>
          <p:cNvPr id="40" name="Content Placeholder 6">
            <a:extLst>
              <a:ext uri="{FF2B5EF4-FFF2-40B4-BE49-F238E27FC236}">
                <a16:creationId xmlns:a16="http://schemas.microsoft.com/office/drawing/2014/main" id="{5A29EB00-5838-45B7-BA3A-198B03500529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276908" y="3132069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2.</a:t>
            </a:r>
          </a:p>
        </p:txBody>
      </p:sp>
      <p:sp>
        <p:nvSpPr>
          <p:cNvPr id="41" name="Content Placeholder 6">
            <a:extLst>
              <a:ext uri="{FF2B5EF4-FFF2-40B4-BE49-F238E27FC236}">
                <a16:creationId xmlns:a16="http://schemas.microsoft.com/office/drawing/2014/main" id="{FC50032A-194E-4086-A0FB-0D581FA9C5E7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276908" y="4887774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3.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69A314F6-1FEB-4F11-806C-E3D4AD539C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D01C81-AE32-45FA-9F8D-CDB078C53866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08C0EE21-95E5-4DA2-9376-52CC55C518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3075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Content (3) &amp; Numbers (3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ext Placeholder 11">
            <a:extLst>
              <a:ext uri="{FF2B5EF4-FFF2-40B4-BE49-F238E27FC236}">
                <a16:creationId xmlns:a16="http://schemas.microsoft.com/office/drawing/2014/main" id="{3A565005-F6E5-4BD3-9F5B-6AF58E8DE81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770501" y="1473599"/>
            <a:ext cx="1878632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</a:t>
            </a:r>
          </a:p>
        </p:txBody>
      </p:sp>
      <p:sp>
        <p:nvSpPr>
          <p:cNvPr id="111" name="Text Placeholder 11">
            <a:extLst>
              <a:ext uri="{FF2B5EF4-FFF2-40B4-BE49-F238E27FC236}">
                <a16:creationId xmlns:a16="http://schemas.microsoft.com/office/drawing/2014/main" id="{E6444A91-ACC7-4CF8-9946-617E2C1A7C3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777130" y="2972161"/>
            <a:ext cx="187200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</a:t>
            </a:r>
          </a:p>
        </p:txBody>
      </p:sp>
      <p:sp>
        <p:nvSpPr>
          <p:cNvPr id="114" name="Text Placeholder 11">
            <a:extLst>
              <a:ext uri="{FF2B5EF4-FFF2-40B4-BE49-F238E27FC236}">
                <a16:creationId xmlns:a16="http://schemas.microsoft.com/office/drawing/2014/main" id="{F9466146-4718-4169-BEFC-27BB664EE8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1775520" y="4400322"/>
            <a:ext cx="187200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</a:t>
            </a:r>
          </a:p>
        </p:txBody>
      </p:sp>
      <p:sp>
        <p:nvSpPr>
          <p:cNvPr id="117" name="Content Placeholder 3">
            <a:extLst>
              <a:ext uri="{FF2B5EF4-FFF2-40B4-BE49-F238E27FC236}">
                <a16:creationId xmlns:a16="http://schemas.microsoft.com/office/drawing/2014/main" id="{D0BB9BD1-AFA8-4777-BD7E-03C05346F0B8}"/>
              </a:ext>
            </a:extLst>
          </p:cNvPr>
          <p:cNvSpPr>
            <a:spLocks noGrp="1"/>
          </p:cNvSpPr>
          <p:nvPr>
            <p:ph sz="quarter" idx="38"/>
          </p:nvPr>
        </p:nvSpPr>
        <p:spPr bwMode="gray">
          <a:xfrm>
            <a:off x="3921690" y="1376363"/>
            <a:ext cx="8006785" cy="1294301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8" name="Content Placeholder 3">
            <a:extLst>
              <a:ext uri="{FF2B5EF4-FFF2-40B4-BE49-F238E27FC236}">
                <a16:creationId xmlns:a16="http://schemas.microsoft.com/office/drawing/2014/main" id="{2F46FA40-89ED-483D-B576-C0B7126B3D16}"/>
              </a:ext>
            </a:extLst>
          </p:cNvPr>
          <p:cNvSpPr>
            <a:spLocks noGrp="1"/>
          </p:cNvSpPr>
          <p:nvPr>
            <p:ph sz="quarter" idx="39"/>
          </p:nvPr>
        </p:nvSpPr>
        <p:spPr bwMode="gray">
          <a:xfrm>
            <a:off x="3921690" y="2863928"/>
            <a:ext cx="8006785" cy="1294301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9" name="Content Placeholder 3">
            <a:extLst>
              <a:ext uri="{FF2B5EF4-FFF2-40B4-BE49-F238E27FC236}">
                <a16:creationId xmlns:a16="http://schemas.microsoft.com/office/drawing/2014/main" id="{D940D62B-2E1F-4339-B9F3-000831E52417}"/>
              </a:ext>
            </a:extLst>
          </p:cNvPr>
          <p:cNvSpPr>
            <a:spLocks noGrp="1"/>
          </p:cNvSpPr>
          <p:nvPr>
            <p:ph sz="quarter" idx="40"/>
          </p:nvPr>
        </p:nvSpPr>
        <p:spPr bwMode="gray">
          <a:xfrm>
            <a:off x="3921690" y="4303084"/>
            <a:ext cx="8006785" cy="1294301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00B1F805-6796-4988-BDAC-995B3E05D34F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263526" y="1376363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1.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8D88CFA7-09AB-4767-BF53-0124083462AB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276908" y="2863928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2.</a:t>
            </a: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019348E2-113B-47F8-A86B-A5A55F501F79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276908" y="4303084"/>
            <a:ext cx="1512000" cy="943200"/>
          </a:xfrm>
          <a:prstGeom prst="rect">
            <a:avLst/>
          </a:prstGeom>
          <a:noFill/>
        </p:spPr>
        <p:txBody>
          <a:bodyPr tIns="0" anchor="t" anchorCtr="0"/>
          <a:lstStyle>
            <a:lvl1pPr algn="l">
              <a:spcBef>
                <a:spcPts val="0"/>
              </a:spcBef>
              <a:defRPr sz="6600" b="1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3.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DD44EDD3-36EC-41BB-85BC-E402BF43896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FBC9DADF-2DD6-49C8-B226-2EAE5C8E7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77463CE8-CEC7-491B-AEE7-C626E86D052E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1770502" y="1844826"/>
            <a:ext cx="1878630" cy="825838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5E70668A-DC62-457E-BA02-26C28D66D891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1770502" y="3341643"/>
            <a:ext cx="1878630" cy="814843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203BC8E2-0A65-4017-BFCD-76D59EB45FE8}"/>
              </a:ext>
            </a:extLst>
          </p:cNvPr>
          <p:cNvSpPr>
            <a:spLocks noGrp="1"/>
          </p:cNvSpPr>
          <p:nvPr>
            <p:ph sz="quarter" idx="28"/>
          </p:nvPr>
        </p:nvSpPr>
        <p:spPr bwMode="gray">
          <a:xfrm>
            <a:off x="1770502" y="4767561"/>
            <a:ext cx="1878630" cy="827341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 marL="0" indent="0">
              <a:lnSpc>
                <a:spcPct val="100000"/>
              </a:lnSpc>
              <a:spcBef>
                <a:spcPts val="600"/>
              </a:spcBef>
              <a:buNone/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47B1C-3F50-4842-AD5D-BE65E80CE057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8" name="Footer Placeholder 5">
            <a:extLst>
              <a:ext uri="{FF2B5EF4-FFF2-40B4-BE49-F238E27FC236}">
                <a16:creationId xmlns:a16="http://schemas.microsoft.com/office/drawing/2014/main" id="{40FB3AED-BDA7-4E93-8A93-6EEE073DC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35818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33F13BF9-1311-4811-A51C-9FFEF446C94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10313" y="1473607"/>
            <a:ext cx="5616575" cy="4871631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D81C83C8-EE7C-474B-8A4C-FA0B57CF463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473607"/>
            <a:ext cx="561551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90F2AEDF-5408-4280-B382-645AF1003C84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844826"/>
            <a:ext cx="5615515" cy="4500412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6786BF-4824-46D8-9C74-2D683B3E95D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F3E48152-933D-4A00-A1DF-6A7A641AFA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93329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(2) &amp; Box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545FE617-D52B-476E-948B-310DEA38FD3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10313" y="1473607"/>
            <a:ext cx="5616575" cy="4187622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8FD9A92-F0CB-4C7E-924C-849F9F88C97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473607"/>
            <a:ext cx="561551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18FC10F9-7B1A-4EE2-839B-96181B8B1B71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844826"/>
            <a:ext cx="5615515" cy="375007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2A5454-E304-485F-BED3-72DE598380D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7C40710-3A2B-42E1-9BDA-515066820A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8E25D4-9655-4B36-AFCF-82E43E68ADA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FBBF5839-79CC-48EC-9AA6-0BA31D953B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20815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(2) &amp; Box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545FE617-D52B-476E-948B-310DEA38FD3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10313" y="1473607"/>
            <a:ext cx="5616575" cy="4187622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8FD9A92-F0CB-4C7E-924C-849F9F88C97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473607"/>
            <a:ext cx="561551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18FC10F9-7B1A-4EE2-839B-96181B8B1B71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844826"/>
            <a:ext cx="5615515" cy="375007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2A5454-E304-485F-BED3-72DE598380D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chemeClr val="tx2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7C40710-3A2B-42E1-9BDA-515066820A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8E25D4-9655-4B36-AFCF-82E43E68ADA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D7C57E55-D7E2-4BBD-B102-BA3CF40CF5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8053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- Darker Pictur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EB87F6C0-6A0D-49A9-B92D-47AC66E82F62}"/>
              </a:ext>
            </a:extLst>
          </p:cNvPr>
          <p:cNvSpPr/>
          <p:nvPr userDrawn="1"/>
        </p:nvSpPr>
        <p:spPr>
          <a:xfrm rot="20700000">
            <a:off x="11630945" y="891479"/>
            <a:ext cx="125787" cy="6268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GB" sz="1400" err="1">
              <a:solidFill>
                <a:schemeClr val="tx1"/>
              </a:solidFill>
            </a:endParaRP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7B060B46-A36B-42A8-BC2B-4D51C11E5CF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" y="4"/>
            <a:ext cx="12193196" cy="4738686"/>
          </a:xfrm>
          <a:custGeom>
            <a:avLst/>
            <a:gdLst>
              <a:gd name="connsiteX0" fmla="*/ 9943716 w 12193196"/>
              <a:gd name="connsiteY0" fmla="*/ 1018573 h 4738686"/>
              <a:gd name="connsiteX1" fmla="*/ 9943716 w 12193196"/>
              <a:gd name="connsiteY1" fmla="*/ 1018583 h 4738686"/>
              <a:gd name="connsiteX2" fmla="*/ 9972804 w 12193196"/>
              <a:gd name="connsiteY2" fmla="*/ 1068171 h 4738686"/>
              <a:gd name="connsiteX3" fmla="*/ 9944107 w 12193196"/>
              <a:gd name="connsiteY3" fmla="*/ 1122040 h 4738686"/>
              <a:gd name="connsiteX4" fmla="*/ 9914039 w 12193196"/>
              <a:gd name="connsiteY4" fmla="*/ 1079406 h 4738686"/>
              <a:gd name="connsiteX5" fmla="*/ 9914039 w 12193196"/>
              <a:gd name="connsiteY5" fmla="*/ 1067545 h 4738686"/>
              <a:gd name="connsiteX6" fmla="*/ 9943716 w 12193196"/>
              <a:gd name="connsiteY6" fmla="*/ 1018573 h 4738686"/>
              <a:gd name="connsiteX7" fmla="*/ 11408435 w 12193196"/>
              <a:gd name="connsiteY7" fmla="*/ 1012941 h 4738686"/>
              <a:gd name="connsiteX8" fmla="*/ 11434684 w 12193196"/>
              <a:gd name="connsiteY8" fmla="*/ 1041128 h 4738686"/>
              <a:gd name="connsiteX9" fmla="*/ 11379836 w 12193196"/>
              <a:gd name="connsiteY9" fmla="*/ 1041128 h 4738686"/>
              <a:gd name="connsiteX10" fmla="*/ 11408435 w 12193196"/>
              <a:gd name="connsiteY10" fmla="*/ 1012941 h 4738686"/>
              <a:gd name="connsiteX11" fmla="*/ 10350271 w 12193196"/>
              <a:gd name="connsiteY11" fmla="*/ 1012834 h 4738686"/>
              <a:gd name="connsiteX12" fmla="*/ 10376618 w 12193196"/>
              <a:gd name="connsiteY12" fmla="*/ 1041021 h 4738686"/>
              <a:gd name="connsiteX13" fmla="*/ 10321770 w 12193196"/>
              <a:gd name="connsiteY13" fmla="*/ 1041021 h 4738686"/>
              <a:gd name="connsiteX14" fmla="*/ 10350271 w 12193196"/>
              <a:gd name="connsiteY14" fmla="*/ 1012834 h 4738686"/>
              <a:gd name="connsiteX15" fmla="*/ 10912556 w 12193196"/>
              <a:gd name="connsiteY15" fmla="*/ 1012833 h 4738686"/>
              <a:gd name="connsiteX16" fmla="*/ 10938805 w 12193196"/>
              <a:gd name="connsiteY16" fmla="*/ 1041021 h 4738686"/>
              <a:gd name="connsiteX17" fmla="*/ 10883957 w 12193196"/>
              <a:gd name="connsiteY17" fmla="*/ 1041021 h 4738686"/>
              <a:gd name="connsiteX18" fmla="*/ 10912556 w 12193196"/>
              <a:gd name="connsiteY18" fmla="*/ 1012833 h 4738686"/>
              <a:gd name="connsiteX19" fmla="*/ 11605397 w 12193196"/>
              <a:gd name="connsiteY19" fmla="*/ 1000835 h 4738686"/>
              <a:gd name="connsiteX20" fmla="*/ 11568179 w 12193196"/>
              <a:gd name="connsiteY20" fmla="*/ 1043841 h 4738686"/>
              <a:gd name="connsiteX21" fmla="*/ 11535270 w 12193196"/>
              <a:gd name="connsiteY21" fmla="*/ 1000923 h 4738686"/>
              <a:gd name="connsiteX22" fmla="*/ 11476897 w 12193196"/>
              <a:gd name="connsiteY22" fmla="*/ 1000923 h 4738686"/>
              <a:gd name="connsiteX23" fmla="*/ 11476897 w 12193196"/>
              <a:gd name="connsiteY23" fmla="*/ 1011922 h 4738686"/>
              <a:gd name="connsiteX24" fmla="*/ 11479443 w 12193196"/>
              <a:gd name="connsiteY24" fmla="*/ 1012079 h 4738686"/>
              <a:gd name="connsiteX25" fmla="*/ 11516074 w 12193196"/>
              <a:gd name="connsiteY25" fmla="*/ 1033136 h 4738686"/>
              <a:gd name="connsiteX26" fmla="*/ 11539971 w 12193196"/>
              <a:gd name="connsiteY26" fmla="*/ 1064899 h 4738686"/>
              <a:gd name="connsiteX27" fmla="*/ 11500893 w 12193196"/>
              <a:gd name="connsiteY27" fmla="*/ 1110021 h 4738686"/>
              <a:gd name="connsiteX28" fmla="*/ 11541245 w 12193196"/>
              <a:gd name="connsiteY28" fmla="*/ 1110021 h 4738686"/>
              <a:gd name="connsiteX29" fmla="*/ 11558776 w 12193196"/>
              <a:gd name="connsiteY29" fmla="*/ 1089874 h 4738686"/>
              <a:gd name="connsiteX30" fmla="*/ 11596386 w 12193196"/>
              <a:gd name="connsiteY30" fmla="*/ 1139824 h 4738686"/>
              <a:gd name="connsiteX31" fmla="*/ 11641635 w 12193196"/>
              <a:gd name="connsiteY31" fmla="*/ 1139824 h 4738686"/>
              <a:gd name="connsiteX32" fmla="*/ 11569942 w 12193196"/>
              <a:gd name="connsiteY32" fmla="*/ 1046192 h 4738686"/>
              <a:gd name="connsiteX33" fmla="*/ 11606474 w 12193196"/>
              <a:gd name="connsiteY33" fmla="*/ 1046221 h 4738686"/>
              <a:gd name="connsiteX34" fmla="*/ 11645651 w 12193196"/>
              <a:gd name="connsiteY34" fmla="*/ 1000835 h 4738686"/>
              <a:gd name="connsiteX35" fmla="*/ 11409709 w 12193196"/>
              <a:gd name="connsiteY35" fmla="*/ 997750 h 4738686"/>
              <a:gd name="connsiteX36" fmla="*/ 11338211 w 12193196"/>
              <a:gd name="connsiteY36" fmla="*/ 1065684 h 4738686"/>
              <a:gd name="connsiteX37" fmla="*/ 11421168 w 12193196"/>
              <a:gd name="connsiteY37" fmla="*/ 1143008 h 4738686"/>
              <a:gd name="connsiteX38" fmla="*/ 11467788 w 12193196"/>
              <a:gd name="connsiteY38" fmla="*/ 1135231 h 4738686"/>
              <a:gd name="connsiteX39" fmla="*/ 11470041 w 12193196"/>
              <a:gd name="connsiteY39" fmla="*/ 1134527 h 4738686"/>
              <a:gd name="connsiteX40" fmla="*/ 11470041 w 12193196"/>
              <a:gd name="connsiteY40" fmla="*/ 1116084 h 4738686"/>
              <a:gd name="connsiteX41" fmla="*/ 11466417 w 12193196"/>
              <a:gd name="connsiteY41" fmla="*/ 1117376 h 4738686"/>
              <a:gd name="connsiteX42" fmla="*/ 11436545 w 12193196"/>
              <a:gd name="connsiteY42" fmla="*/ 1122088 h 4738686"/>
              <a:gd name="connsiteX43" fmla="*/ 11379738 w 12193196"/>
              <a:gd name="connsiteY43" fmla="*/ 1058034 h 4738686"/>
              <a:gd name="connsiteX44" fmla="*/ 11472979 w 12193196"/>
              <a:gd name="connsiteY44" fmla="*/ 1058034 h 4738686"/>
              <a:gd name="connsiteX45" fmla="*/ 11472979 w 12193196"/>
              <a:gd name="connsiteY45" fmla="*/ 1055330 h 4738686"/>
              <a:gd name="connsiteX46" fmla="*/ 11409709 w 12193196"/>
              <a:gd name="connsiteY46" fmla="*/ 997750 h 4738686"/>
              <a:gd name="connsiteX47" fmla="*/ 9781426 w 12193196"/>
              <a:gd name="connsiteY47" fmla="*/ 997723 h 4738686"/>
              <a:gd name="connsiteX48" fmla="*/ 9724032 w 12193196"/>
              <a:gd name="connsiteY48" fmla="*/ 1038926 h 4738686"/>
              <a:gd name="connsiteX49" fmla="*/ 9765951 w 12193196"/>
              <a:gd name="connsiteY49" fmla="*/ 1082648 h 4738686"/>
              <a:gd name="connsiteX50" fmla="*/ 9795725 w 12193196"/>
              <a:gd name="connsiteY50" fmla="*/ 1108378 h 4738686"/>
              <a:gd name="connsiteX51" fmla="*/ 9770261 w 12193196"/>
              <a:gd name="connsiteY51" fmla="*/ 1124901 h 4738686"/>
              <a:gd name="connsiteX52" fmla="*/ 9728439 w 12193196"/>
              <a:gd name="connsiteY52" fmla="*/ 1110376 h 4738686"/>
              <a:gd name="connsiteX53" fmla="*/ 9724326 w 12193196"/>
              <a:gd name="connsiteY53" fmla="*/ 1107888 h 4738686"/>
              <a:gd name="connsiteX54" fmla="*/ 9724326 w 12193196"/>
              <a:gd name="connsiteY54" fmla="*/ 1137271 h 4738686"/>
              <a:gd name="connsiteX55" fmla="*/ 9727166 w 12193196"/>
              <a:gd name="connsiteY55" fmla="*/ 1137888 h 4738686"/>
              <a:gd name="connsiteX56" fmla="*/ 9768987 w 12193196"/>
              <a:gd name="connsiteY56" fmla="*/ 1142971 h 4738686"/>
              <a:gd name="connsiteX57" fmla="*/ 9830593 w 12193196"/>
              <a:gd name="connsiteY57" fmla="*/ 1100631 h 4738686"/>
              <a:gd name="connsiteX58" fmla="*/ 9786911 w 12193196"/>
              <a:gd name="connsiteY58" fmla="*/ 1052913 h 4738686"/>
              <a:gd name="connsiteX59" fmla="*/ 9786911 w 12193196"/>
              <a:gd name="connsiteY59" fmla="*/ 1052884 h 4738686"/>
              <a:gd name="connsiteX60" fmla="*/ 9758899 w 12193196"/>
              <a:gd name="connsiteY60" fmla="*/ 1028779 h 4738686"/>
              <a:gd name="connsiteX61" fmla="*/ 9779075 w 12193196"/>
              <a:gd name="connsiteY61" fmla="*/ 1015714 h 4738686"/>
              <a:gd name="connsiteX62" fmla="*/ 9814824 w 12193196"/>
              <a:gd name="connsiteY62" fmla="*/ 1028006 h 4738686"/>
              <a:gd name="connsiteX63" fmla="*/ 9820799 w 12193196"/>
              <a:gd name="connsiteY63" fmla="*/ 1031649 h 4738686"/>
              <a:gd name="connsiteX64" fmla="*/ 9820799 w 12193196"/>
              <a:gd name="connsiteY64" fmla="*/ 1003079 h 4738686"/>
              <a:gd name="connsiteX65" fmla="*/ 9816097 w 12193196"/>
              <a:gd name="connsiteY65" fmla="*/ 1002101 h 4738686"/>
              <a:gd name="connsiteX66" fmla="*/ 9781426 w 12193196"/>
              <a:gd name="connsiteY66" fmla="*/ 997723 h 4738686"/>
              <a:gd name="connsiteX67" fmla="*/ 10913830 w 12193196"/>
              <a:gd name="connsiteY67" fmla="*/ 997682 h 4738686"/>
              <a:gd name="connsiteX68" fmla="*/ 10842430 w 12193196"/>
              <a:gd name="connsiteY68" fmla="*/ 1065566 h 4738686"/>
              <a:gd name="connsiteX69" fmla="*/ 10925289 w 12193196"/>
              <a:gd name="connsiteY69" fmla="*/ 1142940 h 4738686"/>
              <a:gd name="connsiteX70" fmla="*/ 10971909 w 12193196"/>
              <a:gd name="connsiteY70" fmla="*/ 1135104 h 4738686"/>
              <a:gd name="connsiteX71" fmla="*/ 10974162 w 12193196"/>
              <a:gd name="connsiteY71" fmla="*/ 1134399 h 4738686"/>
              <a:gd name="connsiteX72" fmla="*/ 10974162 w 12193196"/>
              <a:gd name="connsiteY72" fmla="*/ 1115976 h 4738686"/>
              <a:gd name="connsiteX73" fmla="*/ 10970538 w 12193196"/>
              <a:gd name="connsiteY73" fmla="*/ 1117289 h 4738686"/>
              <a:gd name="connsiteX74" fmla="*/ 10940666 w 12193196"/>
              <a:gd name="connsiteY74" fmla="*/ 1122000 h 4738686"/>
              <a:gd name="connsiteX75" fmla="*/ 10883957 w 12193196"/>
              <a:gd name="connsiteY75" fmla="*/ 1057926 h 4738686"/>
              <a:gd name="connsiteX76" fmla="*/ 10977100 w 12193196"/>
              <a:gd name="connsiteY76" fmla="*/ 1057926 h 4738686"/>
              <a:gd name="connsiteX77" fmla="*/ 10977100 w 12193196"/>
              <a:gd name="connsiteY77" fmla="*/ 1055242 h 4738686"/>
              <a:gd name="connsiteX78" fmla="*/ 10913830 w 12193196"/>
              <a:gd name="connsiteY78" fmla="*/ 997682 h 4738686"/>
              <a:gd name="connsiteX79" fmla="*/ 10351643 w 12193196"/>
              <a:gd name="connsiteY79" fmla="*/ 997682 h 4738686"/>
              <a:gd name="connsiteX80" fmla="*/ 10280145 w 12193196"/>
              <a:gd name="connsiteY80" fmla="*/ 1065566 h 4738686"/>
              <a:gd name="connsiteX81" fmla="*/ 10363102 w 12193196"/>
              <a:gd name="connsiteY81" fmla="*/ 1142940 h 4738686"/>
              <a:gd name="connsiteX82" fmla="*/ 10409722 w 12193196"/>
              <a:gd name="connsiteY82" fmla="*/ 1135104 h 4738686"/>
              <a:gd name="connsiteX83" fmla="*/ 10411975 w 12193196"/>
              <a:gd name="connsiteY83" fmla="*/ 1134399 h 4738686"/>
              <a:gd name="connsiteX84" fmla="*/ 10411975 w 12193196"/>
              <a:gd name="connsiteY84" fmla="*/ 1115976 h 4738686"/>
              <a:gd name="connsiteX85" fmla="*/ 10408351 w 12193196"/>
              <a:gd name="connsiteY85" fmla="*/ 1117289 h 4738686"/>
              <a:gd name="connsiteX86" fmla="*/ 10378479 w 12193196"/>
              <a:gd name="connsiteY86" fmla="*/ 1122000 h 4738686"/>
              <a:gd name="connsiteX87" fmla="*/ 10321672 w 12193196"/>
              <a:gd name="connsiteY87" fmla="*/ 1057926 h 4738686"/>
              <a:gd name="connsiteX88" fmla="*/ 10414913 w 12193196"/>
              <a:gd name="connsiteY88" fmla="*/ 1057926 h 4738686"/>
              <a:gd name="connsiteX89" fmla="*/ 10414913 w 12193196"/>
              <a:gd name="connsiteY89" fmla="*/ 1055242 h 4738686"/>
              <a:gd name="connsiteX90" fmla="*/ 10351643 w 12193196"/>
              <a:gd name="connsiteY90" fmla="*/ 997682 h 4738686"/>
              <a:gd name="connsiteX91" fmla="*/ 10104241 w 12193196"/>
              <a:gd name="connsiteY91" fmla="*/ 997212 h 4738686"/>
              <a:gd name="connsiteX92" fmla="*/ 10101107 w 12193196"/>
              <a:gd name="connsiteY92" fmla="*/ 997702 h 4738686"/>
              <a:gd name="connsiteX93" fmla="*/ 10040873 w 12193196"/>
              <a:gd name="connsiteY93" fmla="*/ 1007280 h 4738686"/>
              <a:gd name="connsiteX94" fmla="*/ 10040873 w 12193196"/>
              <a:gd name="connsiteY94" fmla="*/ 1017937 h 4738686"/>
              <a:gd name="connsiteX95" fmla="*/ 10043517 w 12193196"/>
              <a:gd name="connsiteY95" fmla="*/ 1018005 h 4738686"/>
              <a:gd name="connsiteX96" fmla="*/ 10066142 w 12193196"/>
              <a:gd name="connsiteY96" fmla="*/ 1040865 h 4738686"/>
              <a:gd name="connsiteX97" fmla="*/ 10066142 w 12193196"/>
              <a:gd name="connsiteY97" fmla="*/ 1139787 h 4738686"/>
              <a:gd name="connsiteX98" fmla="*/ 10104241 w 12193196"/>
              <a:gd name="connsiteY98" fmla="*/ 1139787 h 4738686"/>
              <a:gd name="connsiteX99" fmla="*/ 9914333 w 12193196"/>
              <a:gd name="connsiteY99" fmla="*/ 997212 h 4738686"/>
              <a:gd name="connsiteX100" fmla="*/ 9911199 w 12193196"/>
              <a:gd name="connsiteY100" fmla="*/ 997703 h 4738686"/>
              <a:gd name="connsiteX101" fmla="*/ 9850377 w 12193196"/>
              <a:gd name="connsiteY101" fmla="*/ 1007280 h 4738686"/>
              <a:gd name="connsiteX102" fmla="*/ 9850377 w 12193196"/>
              <a:gd name="connsiteY102" fmla="*/ 1017937 h 4738686"/>
              <a:gd name="connsiteX103" fmla="*/ 9853021 w 12193196"/>
              <a:gd name="connsiteY103" fmla="*/ 1018005 h 4738686"/>
              <a:gd name="connsiteX104" fmla="*/ 9875940 w 12193196"/>
              <a:gd name="connsiteY104" fmla="*/ 1040865 h 4738686"/>
              <a:gd name="connsiteX105" fmla="*/ 9875940 w 12193196"/>
              <a:gd name="connsiteY105" fmla="*/ 1198327 h 4738686"/>
              <a:gd name="connsiteX106" fmla="*/ 9914039 w 12193196"/>
              <a:gd name="connsiteY106" fmla="*/ 1198327 h 4738686"/>
              <a:gd name="connsiteX107" fmla="*/ 9914039 w 12193196"/>
              <a:gd name="connsiteY107" fmla="*/ 1126594 h 4738686"/>
              <a:gd name="connsiteX108" fmla="*/ 9953216 w 12193196"/>
              <a:gd name="connsiteY108" fmla="*/ 1142940 h 4738686"/>
              <a:gd name="connsiteX109" fmla="*/ 10014234 w 12193196"/>
              <a:gd name="connsiteY109" fmla="*/ 1068171 h 4738686"/>
              <a:gd name="connsiteX110" fmla="*/ 9954587 w 12193196"/>
              <a:gd name="connsiteY110" fmla="*/ 997654 h 4738686"/>
              <a:gd name="connsiteX111" fmla="*/ 9954587 w 12193196"/>
              <a:gd name="connsiteY111" fmla="*/ 997682 h 4738686"/>
              <a:gd name="connsiteX112" fmla="*/ 9914333 w 12193196"/>
              <a:gd name="connsiteY112" fmla="*/ 1017339 h 4738686"/>
              <a:gd name="connsiteX113" fmla="*/ 9585052 w 12193196"/>
              <a:gd name="connsiteY113" fmla="*/ 997212 h 4738686"/>
              <a:gd name="connsiteX114" fmla="*/ 9581918 w 12193196"/>
              <a:gd name="connsiteY114" fmla="*/ 997703 h 4738686"/>
              <a:gd name="connsiteX115" fmla="*/ 9520704 w 12193196"/>
              <a:gd name="connsiteY115" fmla="*/ 1007280 h 4738686"/>
              <a:gd name="connsiteX116" fmla="*/ 9520704 w 12193196"/>
              <a:gd name="connsiteY116" fmla="*/ 1017986 h 4738686"/>
              <a:gd name="connsiteX117" fmla="*/ 9523348 w 12193196"/>
              <a:gd name="connsiteY117" fmla="*/ 1017986 h 4738686"/>
              <a:gd name="connsiteX118" fmla="*/ 9546952 w 12193196"/>
              <a:gd name="connsiteY118" fmla="*/ 1040846 h 4738686"/>
              <a:gd name="connsiteX119" fmla="*/ 9546952 w 12193196"/>
              <a:gd name="connsiteY119" fmla="*/ 1139767 h 4738686"/>
              <a:gd name="connsiteX120" fmla="*/ 9585052 w 12193196"/>
              <a:gd name="connsiteY120" fmla="*/ 1139767 h 4738686"/>
              <a:gd name="connsiteX121" fmla="*/ 9585052 w 12193196"/>
              <a:gd name="connsiteY121" fmla="*/ 1066967 h 4738686"/>
              <a:gd name="connsiteX122" fmla="*/ 9622661 w 12193196"/>
              <a:gd name="connsiteY122" fmla="*/ 1022628 h 4738686"/>
              <a:gd name="connsiteX123" fmla="*/ 9641858 w 12193196"/>
              <a:gd name="connsiteY123" fmla="*/ 1062687 h 4738686"/>
              <a:gd name="connsiteX124" fmla="*/ 9641858 w 12193196"/>
              <a:gd name="connsiteY124" fmla="*/ 1139767 h 4738686"/>
              <a:gd name="connsiteX125" fmla="*/ 9680055 w 12193196"/>
              <a:gd name="connsiteY125" fmla="*/ 1139767 h 4738686"/>
              <a:gd name="connsiteX126" fmla="*/ 9680055 w 12193196"/>
              <a:gd name="connsiteY126" fmla="*/ 1040866 h 4738686"/>
              <a:gd name="connsiteX127" fmla="*/ 9637647 w 12193196"/>
              <a:gd name="connsiteY127" fmla="*/ 997682 h 4738686"/>
              <a:gd name="connsiteX128" fmla="*/ 9585052 w 12193196"/>
              <a:gd name="connsiteY128" fmla="*/ 1028230 h 4738686"/>
              <a:gd name="connsiteX129" fmla="*/ 10204730 w 12193196"/>
              <a:gd name="connsiteY129" fmla="*/ 997212 h 4738686"/>
              <a:gd name="connsiteX130" fmla="*/ 10201596 w 12193196"/>
              <a:gd name="connsiteY130" fmla="*/ 997702 h 4738686"/>
              <a:gd name="connsiteX131" fmla="*/ 10140774 w 12193196"/>
              <a:gd name="connsiteY131" fmla="*/ 1007280 h 4738686"/>
              <a:gd name="connsiteX132" fmla="*/ 10140774 w 12193196"/>
              <a:gd name="connsiteY132" fmla="*/ 1017985 h 4738686"/>
              <a:gd name="connsiteX133" fmla="*/ 10143418 w 12193196"/>
              <a:gd name="connsiteY133" fmla="*/ 1017985 h 4738686"/>
              <a:gd name="connsiteX134" fmla="*/ 10166631 w 12193196"/>
              <a:gd name="connsiteY134" fmla="*/ 1040845 h 4738686"/>
              <a:gd name="connsiteX135" fmla="*/ 10166631 w 12193196"/>
              <a:gd name="connsiteY135" fmla="*/ 1139766 h 4738686"/>
              <a:gd name="connsiteX136" fmla="*/ 10204730 w 12193196"/>
              <a:gd name="connsiteY136" fmla="*/ 1139766 h 4738686"/>
              <a:gd name="connsiteX137" fmla="*/ 10204730 w 12193196"/>
              <a:gd name="connsiteY137" fmla="*/ 1068455 h 4738686"/>
              <a:gd name="connsiteX138" fmla="*/ 10237749 w 12193196"/>
              <a:gd name="connsiteY138" fmla="*/ 1028396 h 4738686"/>
              <a:gd name="connsiteX139" fmla="*/ 10244592 w 12193196"/>
              <a:gd name="connsiteY139" fmla="*/ 1028377 h 4738686"/>
              <a:gd name="connsiteX140" fmla="*/ 10257815 w 12193196"/>
              <a:gd name="connsiteY140" fmla="*/ 1030933 h 4738686"/>
              <a:gd name="connsiteX141" fmla="*/ 10263985 w 12193196"/>
              <a:gd name="connsiteY141" fmla="*/ 1032667 h 4738686"/>
              <a:gd name="connsiteX142" fmla="*/ 10263985 w 12193196"/>
              <a:gd name="connsiteY142" fmla="*/ 1029112 h 4738686"/>
              <a:gd name="connsiteX143" fmla="*/ 10263985 w 12193196"/>
              <a:gd name="connsiteY143" fmla="*/ 999484 h 4738686"/>
              <a:gd name="connsiteX144" fmla="*/ 10261732 w 12193196"/>
              <a:gd name="connsiteY144" fmla="*/ 999141 h 4738686"/>
              <a:gd name="connsiteX145" fmla="*/ 10243613 w 12193196"/>
              <a:gd name="connsiteY145" fmla="*/ 997682 h 4738686"/>
              <a:gd name="connsiteX146" fmla="*/ 10204730 w 12193196"/>
              <a:gd name="connsiteY146" fmla="*/ 1025889 h 4738686"/>
              <a:gd name="connsiteX147" fmla="*/ 10548800 w 12193196"/>
              <a:gd name="connsiteY147" fmla="*/ 957712 h 4738686"/>
              <a:gd name="connsiteX148" fmla="*/ 10548800 w 12193196"/>
              <a:gd name="connsiteY148" fmla="*/ 1000943 h 4738686"/>
              <a:gd name="connsiteX149" fmla="*/ 10523237 w 12193196"/>
              <a:gd name="connsiteY149" fmla="*/ 1000943 h 4738686"/>
              <a:gd name="connsiteX150" fmla="*/ 10523237 w 12193196"/>
              <a:gd name="connsiteY150" fmla="*/ 1017828 h 4738686"/>
              <a:gd name="connsiteX151" fmla="*/ 10548800 w 12193196"/>
              <a:gd name="connsiteY151" fmla="*/ 1017828 h 4738686"/>
              <a:gd name="connsiteX152" fmla="*/ 10548800 w 12193196"/>
              <a:gd name="connsiteY152" fmla="*/ 1103283 h 4738686"/>
              <a:gd name="connsiteX153" fmla="*/ 10601199 w 12193196"/>
              <a:gd name="connsiteY153" fmla="*/ 1143028 h 4738686"/>
              <a:gd name="connsiteX154" fmla="*/ 10623627 w 12193196"/>
              <a:gd name="connsiteY154" fmla="*/ 1140697 h 4738686"/>
              <a:gd name="connsiteX155" fmla="*/ 10625880 w 12193196"/>
              <a:gd name="connsiteY155" fmla="*/ 1140364 h 4738686"/>
              <a:gd name="connsiteX156" fmla="*/ 10625880 w 12193196"/>
              <a:gd name="connsiteY156" fmla="*/ 1123146 h 4738686"/>
              <a:gd name="connsiteX157" fmla="*/ 10622648 w 12193196"/>
              <a:gd name="connsiteY157" fmla="*/ 1123880 h 4738686"/>
              <a:gd name="connsiteX158" fmla="*/ 10611091 w 12193196"/>
              <a:gd name="connsiteY158" fmla="*/ 1124977 h 4738686"/>
              <a:gd name="connsiteX159" fmla="*/ 10586899 w 12193196"/>
              <a:gd name="connsiteY159" fmla="*/ 1098690 h 4738686"/>
              <a:gd name="connsiteX160" fmla="*/ 10586899 w 12193196"/>
              <a:gd name="connsiteY160" fmla="*/ 1017809 h 4738686"/>
              <a:gd name="connsiteX161" fmla="*/ 10629798 w 12193196"/>
              <a:gd name="connsiteY161" fmla="*/ 1017809 h 4738686"/>
              <a:gd name="connsiteX162" fmla="*/ 10629798 w 12193196"/>
              <a:gd name="connsiteY162" fmla="*/ 1000923 h 4738686"/>
              <a:gd name="connsiteX163" fmla="*/ 10586899 w 12193196"/>
              <a:gd name="connsiteY163" fmla="*/ 1000923 h 4738686"/>
              <a:gd name="connsiteX164" fmla="*/ 10586899 w 12193196"/>
              <a:gd name="connsiteY164" fmla="*/ 957712 h 4738686"/>
              <a:gd name="connsiteX165" fmla="*/ 11683359 w 12193196"/>
              <a:gd name="connsiteY165" fmla="*/ 957623 h 4738686"/>
              <a:gd name="connsiteX166" fmla="*/ 11683359 w 12193196"/>
              <a:gd name="connsiteY166" fmla="*/ 1000923 h 4738686"/>
              <a:gd name="connsiteX167" fmla="*/ 11657796 w 12193196"/>
              <a:gd name="connsiteY167" fmla="*/ 1000923 h 4738686"/>
              <a:gd name="connsiteX168" fmla="*/ 11657796 w 12193196"/>
              <a:gd name="connsiteY168" fmla="*/ 1017808 h 4738686"/>
              <a:gd name="connsiteX169" fmla="*/ 11683359 w 12193196"/>
              <a:gd name="connsiteY169" fmla="*/ 1017808 h 4738686"/>
              <a:gd name="connsiteX170" fmla="*/ 11683359 w 12193196"/>
              <a:gd name="connsiteY170" fmla="*/ 1103263 h 4738686"/>
              <a:gd name="connsiteX171" fmla="*/ 11735758 w 12193196"/>
              <a:gd name="connsiteY171" fmla="*/ 1143007 h 4738686"/>
              <a:gd name="connsiteX172" fmla="*/ 11758089 w 12193196"/>
              <a:gd name="connsiteY172" fmla="*/ 1140676 h 4738686"/>
              <a:gd name="connsiteX173" fmla="*/ 11760439 w 12193196"/>
              <a:gd name="connsiteY173" fmla="*/ 1140343 h 4738686"/>
              <a:gd name="connsiteX174" fmla="*/ 11760439 w 12193196"/>
              <a:gd name="connsiteY174" fmla="*/ 1123145 h 4738686"/>
              <a:gd name="connsiteX175" fmla="*/ 11757109 w 12193196"/>
              <a:gd name="connsiteY175" fmla="*/ 1123879 h 4738686"/>
              <a:gd name="connsiteX176" fmla="*/ 11745650 w 12193196"/>
              <a:gd name="connsiteY176" fmla="*/ 1124976 h 4738686"/>
              <a:gd name="connsiteX177" fmla="*/ 11721458 w 12193196"/>
              <a:gd name="connsiteY177" fmla="*/ 1098689 h 4738686"/>
              <a:gd name="connsiteX178" fmla="*/ 11721458 w 12193196"/>
              <a:gd name="connsiteY178" fmla="*/ 1017808 h 4738686"/>
              <a:gd name="connsiteX179" fmla="*/ 11764357 w 12193196"/>
              <a:gd name="connsiteY179" fmla="*/ 1017808 h 4738686"/>
              <a:gd name="connsiteX180" fmla="*/ 11764357 w 12193196"/>
              <a:gd name="connsiteY180" fmla="*/ 1000923 h 4738686"/>
              <a:gd name="connsiteX181" fmla="*/ 11721458 w 12193196"/>
              <a:gd name="connsiteY181" fmla="*/ 1000923 h 4738686"/>
              <a:gd name="connsiteX182" fmla="*/ 11721458 w 12193196"/>
              <a:gd name="connsiteY182" fmla="*/ 957623 h 4738686"/>
              <a:gd name="connsiteX183" fmla="*/ 11073573 w 12193196"/>
              <a:gd name="connsiteY183" fmla="*/ 941062 h 4738686"/>
              <a:gd name="connsiteX184" fmla="*/ 11073573 w 12193196"/>
              <a:gd name="connsiteY184" fmla="*/ 952413 h 4738686"/>
              <a:gd name="connsiteX185" fmla="*/ 11081212 w 12193196"/>
              <a:gd name="connsiteY185" fmla="*/ 953686 h 4738686"/>
              <a:gd name="connsiteX186" fmla="*/ 11106384 w 12193196"/>
              <a:gd name="connsiteY186" fmla="*/ 980541 h 4738686"/>
              <a:gd name="connsiteX187" fmla="*/ 11106384 w 12193196"/>
              <a:gd name="connsiteY187" fmla="*/ 1139765 h 4738686"/>
              <a:gd name="connsiteX188" fmla="*/ 11147323 w 12193196"/>
              <a:gd name="connsiteY188" fmla="*/ 1139765 h 4738686"/>
              <a:gd name="connsiteX189" fmla="*/ 11147323 w 12193196"/>
              <a:gd name="connsiteY189" fmla="*/ 981708 h 4738686"/>
              <a:gd name="connsiteX190" fmla="*/ 11251827 w 12193196"/>
              <a:gd name="connsiteY190" fmla="*/ 1139765 h 4738686"/>
              <a:gd name="connsiteX191" fmla="*/ 11302267 w 12193196"/>
              <a:gd name="connsiteY191" fmla="*/ 1139765 h 4738686"/>
              <a:gd name="connsiteX192" fmla="*/ 11302267 w 12193196"/>
              <a:gd name="connsiteY192" fmla="*/ 941062 h 4738686"/>
              <a:gd name="connsiteX193" fmla="*/ 11299623 w 12193196"/>
              <a:gd name="connsiteY193" fmla="*/ 941062 h 4738686"/>
              <a:gd name="connsiteX194" fmla="*/ 11261328 w 12193196"/>
              <a:gd name="connsiteY194" fmla="*/ 941062 h 4738686"/>
              <a:gd name="connsiteX195" fmla="*/ 11261328 w 12193196"/>
              <a:gd name="connsiteY195" fmla="*/ 1091990 h 4738686"/>
              <a:gd name="connsiteX196" fmla="*/ 11161721 w 12193196"/>
              <a:gd name="connsiteY196" fmla="*/ 941062 h 4738686"/>
              <a:gd name="connsiteX197" fmla="*/ 10085829 w 12193196"/>
              <a:gd name="connsiteY197" fmla="*/ 939103 h 4738686"/>
              <a:gd name="connsiteX198" fmla="*/ 10062691 w 12193196"/>
              <a:gd name="connsiteY198" fmla="*/ 957273 h 4738686"/>
              <a:gd name="connsiteX199" fmla="*/ 10080861 w 12193196"/>
              <a:gd name="connsiteY199" fmla="*/ 980411 h 4738686"/>
              <a:gd name="connsiteX200" fmla="*/ 10085535 w 12193196"/>
              <a:gd name="connsiteY200" fmla="*/ 980444 h 4738686"/>
              <a:gd name="connsiteX201" fmla="*/ 10085535 w 12193196"/>
              <a:gd name="connsiteY201" fmla="*/ 980415 h 4738686"/>
              <a:gd name="connsiteX202" fmla="*/ 10109531 w 12193196"/>
              <a:gd name="connsiteY202" fmla="*/ 959583 h 4738686"/>
              <a:gd name="connsiteX203" fmla="*/ 10085829 w 12193196"/>
              <a:gd name="connsiteY203" fmla="*/ 939103 h 4738686"/>
              <a:gd name="connsiteX204" fmla="*/ 9480646 w 12193196"/>
              <a:gd name="connsiteY204" fmla="*/ 937655 h 4738686"/>
              <a:gd name="connsiteX205" fmla="*/ 9477708 w 12193196"/>
              <a:gd name="connsiteY205" fmla="*/ 937919 h 4738686"/>
              <a:gd name="connsiteX206" fmla="*/ 9402293 w 12193196"/>
              <a:gd name="connsiteY206" fmla="*/ 944775 h 4738686"/>
              <a:gd name="connsiteX207" fmla="*/ 9402293 w 12193196"/>
              <a:gd name="connsiteY207" fmla="*/ 955931 h 4738686"/>
              <a:gd name="connsiteX208" fmla="*/ 9404644 w 12193196"/>
              <a:gd name="connsiteY208" fmla="*/ 956225 h 4738686"/>
              <a:gd name="connsiteX209" fmla="*/ 9435006 w 12193196"/>
              <a:gd name="connsiteY209" fmla="*/ 981690 h 4738686"/>
              <a:gd name="connsiteX210" fmla="*/ 9435006 w 12193196"/>
              <a:gd name="connsiteY210" fmla="*/ 1139748 h 4738686"/>
              <a:gd name="connsiteX211" fmla="*/ 9480646 w 12193196"/>
              <a:gd name="connsiteY211" fmla="*/ 1139748 h 4738686"/>
              <a:gd name="connsiteX212" fmla="*/ 10710404 w 12193196"/>
              <a:gd name="connsiteY212" fmla="*/ 932962 h 4738686"/>
              <a:gd name="connsiteX213" fmla="*/ 10707368 w 12193196"/>
              <a:gd name="connsiteY213" fmla="*/ 933364 h 4738686"/>
              <a:gd name="connsiteX214" fmla="*/ 10646644 w 12193196"/>
              <a:gd name="connsiteY214" fmla="*/ 940827 h 4738686"/>
              <a:gd name="connsiteX215" fmla="*/ 10646644 w 12193196"/>
              <a:gd name="connsiteY215" fmla="*/ 951600 h 4738686"/>
              <a:gd name="connsiteX216" fmla="*/ 10649288 w 12193196"/>
              <a:gd name="connsiteY216" fmla="*/ 951688 h 4738686"/>
              <a:gd name="connsiteX217" fmla="*/ 10672207 w 12193196"/>
              <a:gd name="connsiteY217" fmla="*/ 975146 h 4738686"/>
              <a:gd name="connsiteX218" fmla="*/ 10672207 w 12193196"/>
              <a:gd name="connsiteY218" fmla="*/ 1139766 h 4738686"/>
              <a:gd name="connsiteX219" fmla="*/ 10710404 w 12193196"/>
              <a:gd name="connsiteY219" fmla="*/ 1139766 h 4738686"/>
              <a:gd name="connsiteX220" fmla="*/ 10710404 w 12193196"/>
              <a:gd name="connsiteY220" fmla="*/ 1068719 h 4738686"/>
              <a:gd name="connsiteX221" fmla="*/ 10746251 w 12193196"/>
              <a:gd name="connsiteY221" fmla="*/ 1022628 h 4738686"/>
              <a:gd name="connsiteX222" fmla="*/ 10767504 w 12193196"/>
              <a:gd name="connsiteY222" fmla="*/ 1052657 h 4738686"/>
              <a:gd name="connsiteX223" fmla="*/ 10767504 w 12193196"/>
              <a:gd name="connsiteY223" fmla="*/ 1139766 h 4738686"/>
              <a:gd name="connsiteX224" fmla="*/ 10805604 w 12193196"/>
              <a:gd name="connsiteY224" fmla="*/ 1139766 h 4738686"/>
              <a:gd name="connsiteX225" fmla="*/ 10805604 w 12193196"/>
              <a:gd name="connsiteY225" fmla="*/ 1048347 h 4738686"/>
              <a:gd name="connsiteX226" fmla="*/ 10762705 w 12193196"/>
              <a:gd name="connsiteY226" fmla="*/ 997682 h 4738686"/>
              <a:gd name="connsiteX227" fmla="*/ 10710404 w 12193196"/>
              <a:gd name="connsiteY227" fmla="*/ 1028093 h 4738686"/>
              <a:gd name="connsiteX228" fmla="*/ 11691292 w 12193196"/>
              <a:gd name="connsiteY228" fmla="*/ 901218 h 4738686"/>
              <a:gd name="connsiteX229" fmla="*/ 11642419 w 12193196"/>
              <a:gd name="connsiteY229" fmla="*/ 957691 h 4738686"/>
              <a:gd name="connsiteX230" fmla="*/ 11682771 w 12193196"/>
              <a:gd name="connsiteY230" fmla="*/ 957691 h 4738686"/>
              <a:gd name="connsiteX231" fmla="*/ 11731644 w 12193196"/>
              <a:gd name="connsiteY231" fmla="*/ 901218 h 4738686"/>
              <a:gd name="connsiteX232" fmla="*/ 10547331 w 12193196"/>
              <a:gd name="connsiteY232" fmla="*/ 583241 h 4738686"/>
              <a:gd name="connsiteX233" fmla="*/ 10606292 w 12193196"/>
              <a:gd name="connsiteY233" fmla="*/ 728608 h 4738686"/>
              <a:gd name="connsiteX234" fmla="*/ 10488370 w 12193196"/>
              <a:gd name="connsiteY234" fmla="*/ 728608 h 4738686"/>
              <a:gd name="connsiteX235" fmla="*/ 11138508 w 12193196"/>
              <a:gd name="connsiteY235" fmla="*/ 528864 h 4738686"/>
              <a:gd name="connsiteX236" fmla="*/ 11138508 w 12193196"/>
              <a:gd name="connsiteY236" fmla="*/ 848508 h 4738686"/>
              <a:gd name="connsiteX237" fmla="*/ 11223130 w 12193196"/>
              <a:gd name="connsiteY237" fmla="*/ 848508 h 4738686"/>
              <a:gd name="connsiteX238" fmla="*/ 11223130 w 12193196"/>
              <a:gd name="connsiteY238" fmla="*/ 707844 h 4738686"/>
              <a:gd name="connsiteX239" fmla="*/ 11394136 w 12193196"/>
              <a:gd name="connsiteY239" fmla="*/ 707844 h 4738686"/>
              <a:gd name="connsiteX240" fmla="*/ 11394136 w 12193196"/>
              <a:gd name="connsiteY240" fmla="*/ 848508 h 4738686"/>
              <a:gd name="connsiteX241" fmla="*/ 11478856 w 12193196"/>
              <a:gd name="connsiteY241" fmla="*/ 848508 h 4738686"/>
              <a:gd name="connsiteX242" fmla="*/ 11478856 w 12193196"/>
              <a:gd name="connsiteY242" fmla="*/ 528864 h 4738686"/>
              <a:gd name="connsiteX243" fmla="*/ 11394136 w 12193196"/>
              <a:gd name="connsiteY243" fmla="*/ 528864 h 4738686"/>
              <a:gd name="connsiteX244" fmla="*/ 11394136 w 12193196"/>
              <a:gd name="connsiteY244" fmla="*/ 656678 h 4738686"/>
              <a:gd name="connsiteX245" fmla="*/ 11223130 w 12193196"/>
              <a:gd name="connsiteY245" fmla="*/ 656678 h 4738686"/>
              <a:gd name="connsiteX246" fmla="*/ 11223130 w 12193196"/>
              <a:gd name="connsiteY246" fmla="*/ 528864 h 4738686"/>
              <a:gd name="connsiteX247" fmla="*/ 10075937 w 12193196"/>
              <a:gd name="connsiteY247" fmla="*/ 528864 h 4738686"/>
              <a:gd name="connsiteX248" fmla="*/ 10075937 w 12193196"/>
              <a:gd name="connsiteY248" fmla="*/ 583241 h 4738686"/>
              <a:gd name="connsiteX249" fmla="*/ 10205416 w 12193196"/>
              <a:gd name="connsiteY249" fmla="*/ 583241 h 4738686"/>
              <a:gd name="connsiteX250" fmla="*/ 10205416 w 12193196"/>
              <a:gd name="connsiteY250" fmla="*/ 848508 h 4738686"/>
              <a:gd name="connsiteX251" fmla="*/ 10290038 w 12193196"/>
              <a:gd name="connsiteY251" fmla="*/ 848508 h 4738686"/>
              <a:gd name="connsiteX252" fmla="*/ 10290038 w 12193196"/>
              <a:gd name="connsiteY252" fmla="*/ 583241 h 4738686"/>
              <a:gd name="connsiteX253" fmla="*/ 10419517 w 12193196"/>
              <a:gd name="connsiteY253" fmla="*/ 583241 h 4738686"/>
              <a:gd name="connsiteX254" fmla="*/ 10419517 w 12193196"/>
              <a:gd name="connsiteY254" fmla="*/ 528864 h 4738686"/>
              <a:gd name="connsiteX255" fmla="*/ 10075937 w 12193196"/>
              <a:gd name="connsiteY255" fmla="*/ 528864 h 4738686"/>
              <a:gd name="connsiteX256" fmla="*/ 10495421 w 12193196"/>
              <a:gd name="connsiteY256" fmla="*/ 528864 h 4738686"/>
              <a:gd name="connsiteX257" fmla="*/ 10346060 w 12193196"/>
              <a:gd name="connsiteY257" fmla="*/ 848508 h 4738686"/>
              <a:gd name="connsiteX258" fmla="*/ 10440280 w 12193196"/>
              <a:gd name="connsiteY258" fmla="*/ 848508 h 4738686"/>
              <a:gd name="connsiteX259" fmla="*/ 10467998 w 12193196"/>
              <a:gd name="connsiteY259" fmla="*/ 779773 h 4738686"/>
              <a:gd name="connsiteX260" fmla="*/ 10626663 w 12193196"/>
              <a:gd name="connsiteY260" fmla="*/ 779773 h 4738686"/>
              <a:gd name="connsiteX261" fmla="*/ 10654381 w 12193196"/>
              <a:gd name="connsiteY261" fmla="*/ 848508 h 4738686"/>
              <a:gd name="connsiteX262" fmla="*/ 10748699 w 12193196"/>
              <a:gd name="connsiteY262" fmla="*/ 848508 h 4738686"/>
              <a:gd name="connsiteX263" fmla="*/ 10599240 w 12193196"/>
              <a:gd name="connsiteY263" fmla="*/ 528864 h 4738686"/>
              <a:gd name="connsiteX264" fmla="*/ 10495421 w 12193196"/>
              <a:gd name="connsiteY264" fmla="*/ 528864 h 4738686"/>
              <a:gd name="connsiteX265" fmla="*/ 11545848 w 12193196"/>
              <a:gd name="connsiteY265" fmla="*/ 528864 h 4738686"/>
              <a:gd name="connsiteX266" fmla="*/ 11545848 w 12193196"/>
              <a:gd name="connsiteY266" fmla="*/ 848508 h 4738686"/>
              <a:gd name="connsiteX267" fmla="*/ 11630666 w 12193196"/>
              <a:gd name="connsiteY267" fmla="*/ 848508 h 4738686"/>
              <a:gd name="connsiteX268" fmla="*/ 11630666 w 12193196"/>
              <a:gd name="connsiteY268" fmla="*/ 528864 h 4738686"/>
              <a:gd name="connsiteX269" fmla="*/ 9553515 w 12193196"/>
              <a:gd name="connsiteY269" fmla="*/ 528864 h 4738686"/>
              <a:gd name="connsiteX270" fmla="*/ 9553515 w 12193196"/>
              <a:gd name="connsiteY270" fmla="*/ 848508 h 4738686"/>
              <a:gd name="connsiteX271" fmla="*/ 9638235 w 12193196"/>
              <a:gd name="connsiteY271" fmla="*/ 848508 h 4738686"/>
              <a:gd name="connsiteX272" fmla="*/ 9638235 w 12193196"/>
              <a:gd name="connsiteY272" fmla="*/ 707844 h 4738686"/>
              <a:gd name="connsiteX273" fmla="*/ 9809143 w 12193196"/>
              <a:gd name="connsiteY273" fmla="*/ 707844 h 4738686"/>
              <a:gd name="connsiteX274" fmla="*/ 9809143 w 12193196"/>
              <a:gd name="connsiteY274" fmla="*/ 848508 h 4738686"/>
              <a:gd name="connsiteX275" fmla="*/ 9893863 w 12193196"/>
              <a:gd name="connsiteY275" fmla="*/ 848508 h 4738686"/>
              <a:gd name="connsiteX276" fmla="*/ 9893863 w 12193196"/>
              <a:gd name="connsiteY276" fmla="*/ 528864 h 4738686"/>
              <a:gd name="connsiteX277" fmla="*/ 9809143 w 12193196"/>
              <a:gd name="connsiteY277" fmla="*/ 528864 h 4738686"/>
              <a:gd name="connsiteX278" fmla="*/ 9809143 w 12193196"/>
              <a:gd name="connsiteY278" fmla="*/ 656678 h 4738686"/>
              <a:gd name="connsiteX279" fmla="*/ 9638235 w 12193196"/>
              <a:gd name="connsiteY279" fmla="*/ 656678 h 4738686"/>
              <a:gd name="connsiteX280" fmla="*/ 9638235 w 12193196"/>
              <a:gd name="connsiteY280" fmla="*/ 528864 h 4738686"/>
              <a:gd name="connsiteX281" fmla="*/ 9960953 w 12193196"/>
              <a:gd name="connsiteY281" fmla="*/ 528864 h 4738686"/>
              <a:gd name="connsiteX282" fmla="*/ 9960953 w 12193196"/>
              <a:gd name="connsiteY282" fmla="*/ 848508 h 4738686"/>
              <a:gd name="connsiteX283" fmla="*/ 10045673 w 12193196"/>
              <a:gd name="connsiteY283" fmla="*/ 848508 h 4738686"/>
              <a:gd name="connsiteX284" fmla="*/ 10045673 w 12193196"/>
              <a:gd name="connsiteY284" fmla="*/ 528864 h 4738686"/>
              <a:gd name="connsiteX285" fmla="*/ 10929795 w 12193196"/>
              <a:gd name="connsiteY285" fmla="*/ 520972 h 4738686"/>
              <a:gd name="connsiteX286" fmla="*/ 10828914 w 12193196"/>
              <a:gd name="connsiteY286" fmla="*/ 537904 h 4738686"/>
              <a:gd name="connsiteX287" fmla="*/ 10756241 w 12193196"/>
              <a:gd name="connsiteY287" fmla="*/ 598756 h 4738686"/>
              <a:gd name="connsiteX288" fmla="*/ 10734302 w 12193196"/>
              <a:gd name="connsiteY288" fmla="*/ 691800 h 4738686"/>
              <a:gd name="connsiteX289" fmla="*/ 10745663 w 12193196"/>
              <a:gd name="connsiteY289" fmla="*/ 759871 h 4738686"/>
              <a:gd name="connsiteX290" fmla="*/ 10745663 w 12193196"/>
              <a:gd name="connsiteY290" fmla="*/ 759880 h 4738686"/>
              <a:gd name="connsiteX291" fmla="*/ 10836847 w 12193196"/>
              <a:gd name="connsiteY291" fmla="*/ 843130 h 4738686"/>
              <a:gd name="connsiteX292" fmla="*/ 10922840 w 12193196"/>
              <a:gd name="connsiteY292" fmla="*/ 856372 h 4738686"/>
              <a:gd name="connsiteX293" fmla="*/ 11031654 w 12193196"/>
              <a:gd name="connsiteY293" fmla="*/ 834140 h 4738686"/>
              <a:gd name="connsiteX294" fmla="*/ 11090810 w 12193196"/>
              <a:gd name="connsiteY294" fmla="*/ 763621 h 4738686"/>
              <a:gd name="connsiteX295" fmla="*/ 11095120 w 12193196"/>
              <a:gd name="connsiteY295" fmla="*/ 733318 h 4738686"/>
              <a:gd name="connsiteX296" fmla="*/ 11005895 w 12193196"/>
              <a:gd name="connsiteY296" fmla="*/ 733318 h 4738686"/>
              <a:gd name="connsiteX297" fmla="*/ 10998941 w 12193196"/>
              <a:gd name="connsiteY297" fmla="*/ 767598 h 4738686"/>
              <a:gd name="connsiteX298" fmla="*/ 10961919 w 12193196"/>
              <a:gd name="connsiteY298" fmla="*/ 800790 h 4738686"/>
              <a:gd name="connsiteX299" fmla="*/ 10922840 w 12193196"/>
              <a:gd name="connsiteY299" fmla="*/ 806873 h 4738686"/>
              <a:gd name="connsiteX300" fmla="*/ 10877395 w 12193196"/>
              <a:gd name="connsiteY300" fmla="*/ 798460 h 4738686"/>
              <a:gd name="connsiteX301" fmla="*/ 10831167 w 12193196"/>
              <a:gd name="connsiteY301" fmla="*/ 748009 h 4738686"/>
              <a:gd name="connsiteX302" fmla="*/ 10823037 w 12193196"/>
              <a:gd name="connsiteY302" fmla="*/ 691820 h 4738686"/>
              <a:gd name="connsiteX303" fmla="*/ 10834595 w 12193196"/>
              <a:gd name="connsiteY303" fmla="*/ 624553 h 4738686"/>
              <a:gd name="connsiteX304" fmla="*/ 10880921 w 12193196"/>
              <a:gd name="connsiteY304" fmla="*/ 577649 h 4738686"/>
              <a:gd name="connsiteX305" fmla="*/ 10922840 w 12193196"/>
              <a:gd name="connsiteY305" fmla="*/ 570431 h 4738686"/>
              <a:gd name="connsiteX306" fmla="*/ 10959862 w 12193196"/>
              <a:gd name="connsiteY306" fmla="*/ 575964 h 4738686"/>
              <a:gd name="connsiteX307" fmla="*/ 10999627 w 12193196"/>
              <a:gd name="connsiteY307" fmla="*/ 612928 h 4738686"/>
              <a:gd name="connsiteX308" fmla="*/ 11004230 w 12193196"/>
              <a:gd name="connsiteY308" fmla="*/ 637521 h 4738686"/>
              <a:gd name="connsiteX309" fmla="*/ 11093063 w 12193196"/>
              <a:gd name="connsiteY309" fmla="*/ 637521 h 4738686"/>
              <a:gd name="connsiteX310" fmla="*/ 11090027 w 12193196"/>
              <a:gd name="connsiteY310" fmla="*/ 617276 h 4738686"/>
              <a:gd name="connsiteX311" fmla="*/ 11029597 w 12193196"/>
              <a:gd name="connsiteY311" fmla="*/ 543409 h 4738686"/>
              <a:gd name="connsiteX312" fmla="*/ 10929795 w 12193196"/>
              <a:gd name="connsiteY312" fmla="*/ 520972 h 4738686"/>
              <a:gd name="connsiteX313" fmla="*/ 0 w 12193196"/>
              <a:gd name="connsiteY313" fmla="*/ 0 h 4738686"/>
              <a:gd name="connsiteX314" fmla="*/ 12193196 w 12193196"/>
              <a:gd name="connsiteY314" fmla="*/ 0 h 4738686"/>
              <a:gd name="connsiteX315" fmla="*/ 12193196 w 12193196"/>
              <a:gd name="connsiteY315" fmla="*/ 4738686 h 4738686"/>
              <a:gd name="connsiteX316" fmla="*/ 0 w 12193196"/>
              <a:gd name="connsiteY316" fmla="*/ 4738686 h 4738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</a:cxnLst>
            <a:rect l="l" t="t" r="r" b="b"/>
            <a:pathLst>
              <a:path w="12193196" h="4738686">
                <a:moveTo>
                  <a:pt x="9943716" y="1018573"/>
                </a:moveTo>
                <a:lnTo>
                  <a:pt x="9943716" y="1018583"/>
                </a:lnTo>
                <a:cubicBezTo>
                  <a:pt x="9969768" y="1018583"/>
                  <a:pt x="9972804" y="1046888"/>
                  <a:pt x="9972804" y="1068171"/>
                </a:cubicBezTo>
                <a:cubicBezTo>
                  <a:pt x="9972804" y="1104410"/>
                  <a:pt x="9963402" y="1122040"/>
                  <a:pt x="9944107" y="1122040"/>
                </a:cubicBezTo>
                <a:cubicBezTo>
                  <a:pt x="9919230" y="1122040"/>
                  <a:pt x="9914039" y="1098847"/>
                  <a:pt x="9914039" y="1079406"/>
                </a:cubicBezTo>
                <a:lnTo>
                  <a:pt x="9914039" y="1067545"/>
                </a:lnTo>
                <a:cubicBezTo>
                  <a:pt x="9914039" y="1052854"/>
                  <a:pt x="9916977" y="1018573"/>
                  <a:pt x="9943716" y="1018573"/>
                </a:cubicBezTo>
                <a:close/>
                <a:moveTo>
                  <a:pt x="11408435" y="1012941"/>
                </a:moveTo>
                <a:cubicBezTo>
                  <a:pt x="11428807" y="1012941"/>
                  <a:pt x="11434096" y="1027633"/>
                  <a:pt x="11434684" y="1041128"/>
                </a:cubicBezTo>
                <a:lnTo>
                  <a:pt x="11379836" y="1041128"/>
                </a:lnTo>
                <a:cubicBezTo>
                  <a:pt x="11380159" y="1025534"/>
                  <a:pt x="11392843" y="1013033"/>
                  <a:pt x="11408435" y="1012941"/>
                </a:cubicBezTo>
                <a:close/>
                <a:moveTo>
                  <a:pt x="10350271" y="1012834"/>
                </a:moveTo>
                <a:cubicBezTo>
                  <a:pt x="10370741" y="1012834"/>
                  <a:pt x="10376030" y="1027584"/>
                  <a:pt x="10376618" y="1041021"/>
                </a:cubicBezTo>
                <a:lnTo>
                  <a:pt x="10321770" y="1041021"/>
                </a:lnTo>
                <a:cubicBezTo>
                  <a:pt x="10322093" y="1025467"/>
                  <a:pt x="10334714" y="1012983"/>
                  <a:pt x="10350271" y="1012834"/>
                </a:cubicBezTo>
                <a:close/>
                <a:moveTo>
                  <a:pt x="10912556" y="1012833"/>
                </a:moveTo>
                <a:cubicBezTo>
                  <a:pt x="10933026" y="1012833"/>
                  <a:pt x="10938217" y="1027584"/>
                  <a:pt x="10938805" y="1041021"/>
                </a:cubicBezTo>
                <a:lnTo>
                  <a:pt x="10883957" y="1041021"/>
                </a:lnTo>
                <a:cubicBezTo>
                  <a:pt x="10884290" y="1025434"/>
                  <a:pt x="10896964" y="1012941"/>
                  <a:pt x="10912556" y="1012833"/>
                </a:cubicBezTo>
                <a:close/>
                <a:moveTo>
                  <a:pt x="11605397" y="1000835"/>
                </a:moveTo>
                <a:lnTo>
                  <a:pt x="11568179" y="1043841"/>
                </a:lnTo>
                <a:lnTo>
                  <a:pt x="11535270" y="1000923"/>
                </a:lnTo>
                <a:lnTo>
                  <a:pt x="11476897" y="1000923"/>
                </a:lnTo>
                <a:lnTo>
                  <a:pt x="11476897" y="1011922"/>
                </a:lnTo>
                <a:lnTo>
                  <a:pt x="11479443" y="1012079"/>
                </a:lnTo>
                <a:cubicBezTo>
                  <a:pt x="11499326" y="1013430"/>
                  <a:pt x="11503831" y="1016976"/>
                  <a:pt x="11516074" y="1033136"/>
                </a:cubicBezTo>
                <a:lnTo>
                  <a:pt x="11539971" y="1064899"/>
                </a:lnTo>
                <a:lnTo>
                  <a:pt x="11500893" y="1110021"/>
                </a:lnTo>
                <a:lnTo>
                  <a:pt x="11541245" y="1110021"/>
                </a:lnTo>
                <a:lnTo>
                  <a:pt x="11558776" y="1089874"/>
                </a:lnTo>
                <a:lnTo>
                  <a:pt x="11596386" y="1139824"/>
                </a:lnTo>
                <a:lnTo>
                  <a:pt x="11641635" y="1139824"/>
                </a:lnTo>
                <a:lnTo>
                  <a:pt x="11569942" y="1046192"/>
                </a:lnTo>
                <a:lnTo>
                  <a:pt x="11606474" y="1046221"/>
                </a:lnTo>
                <a:lnTo>
                  <a:pt x="11645651" y="1000835"/>
                </a:lnTo>
                <a:close/>
                <a:moveTo>
                  <a:pt x="11409709" y="997750"/>
                </a:moveTo>
                <a:cubicBezTo>
                  <a:pt x="11362305" y="997750"/>
                  <a:pt x="11338211" y="1020600"/>
                  <a:pt x="11338211" y="1065684"/>
                </a:cubicBezTo>
                <a:cubicBezTo>
                  <a:pt x="11338211" y="1114066"/>
                  <a:pt x="11369259" y="1143008"/>
                  <a:pt x="11421168" y="1143008"/>
                </a:cubicBezTo>
                <a:cubicBezTo>
                  <a:pt x="11437024" y="1142934"/>
                  <a:pt x="11452764" y="1140308"/>
                  <a:pt x="11467788" y="1135231"/>
                </a:cubicBezTo>
                <a:lnTo>
                  <a:pt x="11470041" y="1134527"/>
                </a:lnTo>
                <a:lnTo>
                  <a:pt x="11470041" y="1116084"/>
                </a:lnTo>
                <a:lnTo>
                  <a:pt x="11466417" y="1117376"/>
                </a:lnTo>
                <a:cubicBezTo>
                  <a:pt x="11456779" y="1120531"/>
                  <a:pt x="11446691" y="1122122"/>
                  <a:pt x="11436545" y="1122088"/>
                </a:cubicBezTo>
                <a:cubicBezTo>
                  <a:pt x="11395801" y="1122088"/>
                  <a:pt x="11380620" y="1088181"/>
                  <a:pt x="11379738" y="1058034"/>
                </a:cubicBezTo>
                <a:lnTo>
                  <a:pt x="11472979" y="1058034"/>
                </a:lnTo>
                <a:lnTo>
                  <a:pt x="11472979" y="1055330"/>
                </a:lnTo>
                <a:cubicBezTo>
                  <a:pt x="11472979" y="1017133"/>
                  <a:pt x="11451726" y="997750"/>
                  <a:pt x="11409709" y="997750"/>
                </a:cubicBezTo>
                <a:close/>
                <a:moveTo>
                  <a:pt x="9781426" y="997723"/>
                </a:moveTo>
                <a:cubicBezTo>
                  <a:pt x="9745481" y="997723"/>
                  <a:pt x="9724032" y="1013119"/>
                  <a:pt x="9724032" y="1038926"/>
                </a:cubicBezTo>
                <a:cubicBezTo>
                  <a:pt x="9724032" y="1062100"/>
                  <a:pt x="9746265" y="1073031"/>
                  <a:pt x="9765951" y="1082648"/>
                </a:cubicBezTo>
                <a:cubicBezTo>
                  <a:pt x="9781230" y="1090161"/>
                  <a:pt x="9795725" y="1097203"/>
                  <a:pt x="9795725" y="1108378"/>
                </a:cubicBezTo>
                <a:cubicBezTo>
                  <a:pt x="9795725" y="1118877"/>
                  <a:pt x="9786421" y="1124901"/>
                  <a:pt x="9770261" y="1124901"/>
                </a:cubicBezTo>
                <a:cubicBezTo>
                  <a:pt x="9755255" y="1123971"/>
                  <a:pt x="9740791" y="1118948"/>
                  <a:pt x="9728439" y="1110376"/>
                </a:cubicBezTo>
                <a:lnTo>
                  <a:pt x="9724326" y="1107888"/>
                </a:lnTo>
                <a:lnTo>
                  <a:pt x="9724326" y="1137271"/>
                </a:lnTo>
                <a:lnTo>
                  <a:pt x="9727166" y="1137888"/>
                </a:lnTo>
                <a:cubicBezTo>
                  <a:pt x="9740855" y="1141241"/>
                  <a:pt x="9754894" y="1142947"/>
                  <a:pt x="9768987" y="1142971"/>
                </a:cubicBezTo>
                <a:cubicBezTo>
                  <a:pt x="9807576" y="1142971"/>
                  <a:pt x="9830593" y="1127134"/>
                  <a:pt x="9830593" y="1100631"/>
                </a:cubicBezTo>
                <a:cubicBezTo>
                  <a:pt x="9830593" y="1074372"/>
                  <a:pt x="9807381" y="1062982"/>
                  <a:pt x="9786911" y="1052913"/>
                </a:cubicBezTo>
                <a:lnTo>
                  <a:pt x="9786911" y="1052884"/>
                </a:lnTo>
                <a:cubicBezTo>
                  <a:pt x="9771828" y="1045527"/>
                  <a:pt x="9758899" y="1039172"/>
                  <a:pt x="9758899" y="1028779"/>
                </a:cubicBezTo>
                <a:cubicBezTo>
                  <a:pt x="9758899" y="1017026"/>
                  <a:pt x="9773003" y="1015714"/>
                  <a:pt x="9779075" y="1015714"/>
                </a:cubicBezTo>
                <a:cubicBezTo>
                  <a:pt x="9791882" y="1016511"/>
                  <a:pt x="9804235" y="1020760"/>
                  <a:pt x="9814824" y="1028006"/>
                </a:cubicBezTo>
                <a:lnTo>
                  <a:pt x="9820799" y="1031649"/>
                </a:lnTo>
                <a:lnTo>
                  <a:pt x="9820799" y="1003079"/>
                </a:lnTo>
                <a:lnTo>
                  <a:pt x="9816097" y="1002101"/>
                </a:lnTo>
                <a:cubicBezTo>
                  <a:pt x="9804739" y="999359"/>
                  <a:pt x="9793109" y="997890"/>
                  <a:pt x="9781426" y="997723"/>
                </a:cubicBezTo>
                <a:close/>
                <a:moveTo>
                  <a:pt x="10913830" y="997682"/>
                </a:moveTo>
                <a:cubicBezTo>
                  <a:pt x="10866426" y="997682"/>
                  <a:pt x="10842430" y="1020493"/>
                  <a:pt x="10842430" y="1065566"/>
                </a:cubicBezTo>
                <a:cubicBezTo>
                  <a:pt x="10842430" y="1114017"/>
                  <a:pt x="10873380" y="1142940"/>
                  <a:pt x="10925289" y="1142940"/>
                </a:cubicBezTo>
                <a:cubicBezTo>
                  <a:pt x="10941146" y="1142830"/>
                  <a:pt x="10956885" y="1140185"/>
                  <a:pt x="10971909" y="1135104"/>
                </a:cubicBezTo>
                <a:lnTo>
                  <a:pt x="10974162" y="1134399"/>
                </a:lnTo>
                <a:lnTo>
                  <a:pt x="10974162" y="1115976"/>
                </a:lnTo>
                <a:lnTo>
                  <a:pt x="10970538" y="1117289"/>
                </a:lnTo>
                <a:cubicBezTo>
                  <a:pt x="10960910" y="1120484"/>
                  <a:pt x="10950813" y="1122075"/>
                  <a:pt x="10940666" y="1122000"/>
                </a:cubicBezTo>
                <a:cubicBezTo>
                  <a:pt x="10899922" y="1122000"/>
                  <a:pt x="10884741" y="1088122"/>
                  <a:pt x="10883957" y="1057926"/>
                </a:cubicBezTo>
                <a:lnTo>
                  <a:pt x="10977100" y="1057926"/>
                </a:lnTo>
                <a:lnTo>
                  <a:pt x="10977100" y="1055242"/>
                </a:lnTo>
                <a:cubicBezTo>
                  <a:pt x="10977100" y="1017044"/>
                  <a:pt x="10955847" y="997682"/>
                  <a:pt x="10913830" y="997682"/>
                </a:cubicBezTo>
                <a:close/>
                <a:moveTo>
                  <a:pt x="10351643" y="997682"/>
                </a:moveTo>
                <a:cubicBezTo>
                  <a:pt x="10304239" y="997682"/>
                  <a:pt x="10280145" y="1020493"/>
                  <a:pt x="10280145" y="1065566"/>
                </a:cubicBezTo>
                <a:cubicBezTo>
                  <a:pt x="10280145" y="1114017"/>
                  <a:pt x="10311193" y="1142940"/>
                  <a:pt x="10363102" y="1142940"/>
                </a:cubicBezTo>
                <a:cubicBezTo>
                  <a:pt x="10378961" y="1142830"/>
                  <a:pt x="10394698" y="1140185"/>
                  <a:pt x="10409722" y="1135104"/>
                </a:cubicBezTo>
                <a:lnTo>
                  <a:pt x="10411975" y="1134399"/>
                </a:lnTo>
                <a:lnTo>
                  <a:pt x="10411975" y="1115976"/>
                </a:lnTo>
                <a:lnTo>
                  <a:pt x="10408351" y="1117289"/>
                </a:lnTo>
                <a:cubicBezTo>
                  <a:pt x="10398713" y="1120466"/>
                  <a:pt x="10388625" y="1122057"/>
                  <a:pt x="10378479" y="1122000"/>
                </a:cubicBezTo>
                <a:cubicBezTo>
                  <a:pt x="10337735" y="1122000"/>
                  <a:pt x="10322554" y="1088122"/>
                  <a:pt x="10321672" y="1057926"/>
                </a:cubicBezTo>
                <a:lnTo>
                  <a:pt x="10414913" y="1057926"/>
                </a:lnTo>
                <a:lnTo>
                  <a:pt x="10414913" y="1055242"/>
                </a:lnTo>
                <a:cubicBezTo>
                  <a:pt x="10414913" y="1017045"/>
                  <a:pt x="10393660" y="997682"/>
                  <a:pt x="10351643" y="997682"/>
                </a:cubicBezTo>
                <a:close/>
                <a:moveTo>
                  <a:pt x="10104241" y="997212"/>
                </a:moveTo>
                <a:lnTo>
                  <a:pt x="10101107" y="997702"/>
                </a:lnTo>
                <a:lnTo>
                  <a:pt x="10040873" y="1007280"/>
                </a:lnTo>
                <a:lnTo>
                  <a:pt x="10040873" y="1017937"/>
                </a:lnTo>
                <a:lnTo>
                  <a:pt x="10043517" y="1018005"/>
                </a:lnTo>
                <a:cubicBezTo>
                  <a:pt x="10062322" y="1018563"/>
                  <a:pt x="10066142" y="1022432"/>
                  <a:pt x="10066142" y="1040865"/>
                </a:cubicBezTo>
                <a:lnTo>
                  <a:pt x="10066142" y="1139787"/>
                </a:lnTo>
                <a:lnTo>
                  <a:pt x="10104241" y="1139787"/>
                </a:lnTo>
                <a:close/>
                <a:moveTo>
                  <a:pt x="9914333" y="997212"/>
                </a:moveTo>
                <a:lnTo>
                  <a:pt x="9911199" y="997703"/>
                </a:lnTo>
                <a:lnTo>
                  <a:pt x="9850377" y="1007280"/>
                </a:lnTo>
                <a:lnTo>
                  <a:pt x="9850377" y="1017937"/>
                </a:lnTo>
                <a:lnTo>
                  <a:pt x="9853021" y="1018005"/>
                </a:lnTo>
                <a:cubicBezTo>
                  <a:pt x="9872022" y="1018563"/>
                  <a:pt x="9875940" y="1022433"/>
                  <a:pt x="9875940" y="1040865"/>
                </a:cubicBezTo>
                <a:lnTo>
                  <a:pt x="9875940" y="1198327"/>
                </a:lnTo>
                <a:lnTo>
                  <a:pt x="9914039" y="1198327"/>
                </a:lnTo>
                <a:lnTo>
                  <a:pt x="9914039" y="1126594"/>
                </a:lnTo>
                <a:cubicBezTo>
                  <a:pt x="9923719" y="1138012"/>
                  <a:pt x="9938291" y="1144094"/>
                  <a:pt x="9953216" y="1142940"/>
                </a:cubicBezTo>
                <a:cubicBezTo>
                  <a:pt x="9993176" y="1142940"/>
                  <a:pt x="10014234" y="1117064"/>
                  <a:pt x="10014234" y="1068171"/>
                </a:cubicBezTo>
                <a:cubicBezTo>
                  <a:pt x="10014234" y="1023334"/>
                  <a:pt x="9992491" y="997654"/>
                  <a:pt x="9954587" y="997654"/>
                </a:cubicBezTo>
                <a:lnTo>
                  <a:pt x="9954587" y="997682"/>
                </a:lnTo>
                <a:cubicBezTo>
                  <a:pt x="9939027" y="998380"/>
                  <a:pt x="9924452" y="1005498"/>
                  <a:pt x="9914333" y="1017339"/>
                </a:cubicBezTo>
                <a:close/>
                <a:moveTo>
                  <a:pt x="9585052" y="997212"/>
                </a:moveTo>
                <a:lnTo>
                  <a:pt x="9581918" y="997703"/>
                </a:lnTo>
                <a:lnTo>
                  <a:pt x="9520704" y="1007280"/>
                </a:lnTo>
                <a:lnTo>
                  <a:pt x="9520704" y="1017986"/>
                </a:lnTo>
                <a:lnTo>
                  <a:pt x="9523348" y="1017986"/>
                </a:lnTo>
                <a:cubicBezTo>
                  <a:pt x="9542741" y="1018545"/>
                  <a:pt x="9546952" y="1022609"/>
                  <a:pt x="9546952" y="1040846"/>
                </a:cubicBezTo>
                <a:lnTo>
                  <a:pt x="9546952" y="1139767"/>
                </a:lnTo>
                <a:lnTo>
                  <a:pt x="9585052" y="1139767"/>
                </a:lnTo>
                <a:lnTo>
                  <a:pt x="9585052" y="1066967"/>
                </a:lnTo>
                <a:cubicBezTo>
                  <a:pt x="9585052" y="1047623"/>
                  <a:pt x="9603269" y="1022628"/>
                  <a:pt x="9622661" y="1022628"/>
                </a:cubicBezTo>
                <a:cubicBezTo>
                  <a:pt x="9640879" y="1022628"/>
                  <a:pt x="9641858" y="1037849"/>
                  <a:pt x="9641858" y="1062687"/>
                </a:cubicBezTo>
                <a:lnTo>
                  <a:pt x="9641858" y="1139767"/>
                </a:lnTo>
                <a:lnTo>
                  <a:pt x="9680055" y="1139767"/>
                </a:lnTo>
                <a:lnTo>
                  <a:pt x="9680055" y="1040866"/>
                </a:lnTo>
                <a:cubicBezTo>
                  <a:pt x="9680055" y="1013011"/>
                  <a:pt x="9664972" y="997682"/>
                  <a:pt x="9637647" y="997682"/>
                </a:cubicBezTo>
                <a:cubicBezTo>
                  <a:pt x="9616043" y="998193"/>
                  <a:pt x="9596200" y="1009718"/>
                  <a:pt x="9585052" y="1028230"/>
                </a:cubicBezTo>
                <a:close/>
                <a:moveTo>
                  <a:pt x="10204730" y="997212"/>
                </a:moveTo>
                <a:lnTo>
                  <a:pt x="10201596" y="997702"/>
                </a:lnTo>
                <a:lnTo>
                  <a:pt x="10140774" y="1007280"/>
                </a:lnTo>
                <a:lnTo>
                  <a:pt x="10140774" y="1017985"/>
                </a:lnTo>
                <a:lnTo>
                  <a:pt x="10143418" y="1017985"/>
                </a:lnTo>
                <a:cubicBezTo>
                  <a:pt x="10162713" y="1018544"/>
                  <a:pt x="10166631" y="1022412"/>
                  <a:pt x="10166631" y="1040845"/>
                </a:cubicBezTo>
                <a:lnTo>
                  <a:pt x="10166631" y="1139766"/>
                </a:lnTo>
                <a:lnTo>
                  <a:pt x="10204730" y="1139766"/>
                </a:lnTo>
                <a:lnTo>
                  <a:pt x="10204730" y="1068455"/>
                </a:lnTo>
                <a:cubicBezTo>
                  <a:pt x="10202786" y="1048275"/>
                  <a:pt x="10217569" y="1030340"/>
                  <a:pt x="10237749" y="1028396"/>
                </a:cubicBezTo>
                <a:cubicBezTo>
                  <a:pt x="10240025" y="1028176"/>
                  <a:pt x="10242316" y="1028170"/>
                  <a:pt x="10244592" y="1028377"/>
                </a:cubicBezTo>
                <a:cubicBezTo>
                  <a:pt x="10249094" y="1028635"/>
                  <a:pt x="10253541" y="1029494"/>
                  <a:pt x="10257815" y="1030933"/>
                </a:cubicBezTo>
                <a:lnTo>
                  <a:pt x="10263985" y="1032667"/>
                </a:lnTo>
                <a:lnTo>
                  <a:pt x="10263985" y="1029112"/>
                </a:lnTo>
                <a:lnTo>
                  <a:pt x="10263985" y="999484"/>
                </a:lnTo>
                <a:lnTo>
                  <a:pt x="10261732" y="999141"/>
                </a:lnTo>
                <a:cubicBezTo>
                  <a:pt x="10255737" y="998203"/>
                  <a:pt x="10249680" y="997715"/>
                  <a:pt x="10243613" y="997682"/>
                </a:cubicBezTo>
                <a:cubicBezTo>
                  <a:pt x="10226159" y="998411"/>
                  <a:pt x="10210840" y="1009523"/>
                  <a:pt x="10204730" y="1025889"/>
                </a:cubicBezTo>
                <a:close/>
                <a:moveTo>
                  <a:pt x="10548800" y="957712"/>
                </a:moveTo>
                <a:lnTo>
                  <a:pt x="10548800" y="1000943"/>
                </a:lnTo>
                <a:lnTo>
                  <a:pt x="10523237" y="1000943"/>
                </a:lnTo>
                <a:lnTo>
                  <a:pt x="10523237" y="1017828"/>
                </a:lnTo>
                <a:lnTo>
                  <a:pt x="10548800" y="1017828"/>
                </a:lnTo>
                <a:lnTo>
                  <a:pt x="10548800" y="1103283"/>
                </a:lnTo>
                <a:cubicBezTo>
                  <a:pt x="10548800" y="1140080"/>
                  <a:pt x="10572502" y="1143028"/>
                  <a:pt x="10601199" y="1143028"/>
                </a:cubicBezTo>
                <a:cubicBezTo>
                  <a:pt x="10608721" y="1142852"/>
                  <a:pt x="10616223" y="1142072"/>
                  <a:pt x="10623627" y="1140697"/>
                </a:cubicBezTo>
                <a:lnTo>
                  <a:pt x="10625880" y="1140364"/>
                </a:lnTo>
                <a:lnTo>
                  <a:pt x="10625880" y="1123146"/>
                </a:lnTo>
                <a:lnTo>
                  <a:pt x="10622648" y="1123880"/>
                </a:lnTo>
                <a:cubicBezTo>
                  <a:pt x="10618848" y="1124646"/>
                  <a:pt x="10614969" y="1125014"/>
                  <a:pt x="10611091" y="1124977"/>
                </a:cubicBezTo>
                <a:cubicBezTo>
                  <a:pt x="10588173" y="1124977"/>
                  <a:pt x="10586899" y="1118219"/>
                  <a:pt x="10586899" y="1098690"/>
                </a:cubicBezTo>
                <a:lnTo>
                  <a:pt x="10586899" y="1017809"/>
                </a:lnTo>
                <a:lnTo>
                  <a:pt x="10629798" y="1017809"/>
                </a:lnTo>
                <a:lnTo>
                  <a:pt x="10629798" y="1000923"/>
                </a:lnTo>
                <a:lnTo>
                  <a:pt x="10586899" y="1000923"/>
                </a:lnTo>
                <a:lnTo>
                  <a:pt x="10586899" y="957712"/>
                </a:lnTo>
                <a:close/>
                <a:moveTo>
                  <a:pt x="11683359" y="957623"/>
                </a:moveTo>
                <a:lnTo>
                  <a:pt x="11683359" y="1000923"/>
                </a:lnTo>
                <a:lnTo>
                  <a:pt x="11657796" y="1000923"/>
                </a:lnTo>
                <a:lnTo>
                  <a:pt x="11657796" y="1017808"/>
                </a:lnTo>
                <a:lnTo>
                  <a:pt x="11683359" y="1017808"/>
                </a:lnTo>
                <a:lnTo>
                  <a:pt x="11683359" y="1103263"/>
                </a:lnTo>
                <a:cubicBezTo>
                  <a:pt x="11683359" y="1140059"/>
                  <a:pt x="11707061" y="1143007"/>
                  <a:pt x="11735758" y="1143007"/>
                </a:cubicBezTo>
                <a:cubicBezTo>
                  <a:pt x="11743250" y="1142836"/>
                  <a:pt x="11750723" y="1142056"/>
                  <a:pt x="11758089" y="1140676"/>
                </a:cubicBezTo>
                <a:lnTo>
                  <a:pt x="11760439" y="1140343"/>
                </a:lnTo>
                <a:lnTo>
                  <a:pt x="11760439" y="1123145"/>
                </a:lnTo>
                <a:lnTo>
                  <a:pt x="11757109" y="1123879"/>
                </a:lnTo>
                <a:cubicBezTo>
                  <a:pt x="11753338" y="1124651"/>
                  <a:pt x="11749499" y="1125018"/>
                  <a:pt x="11745650" y="1124976"/>
                </a:cubicBezTo>
                <a:cubicBezTo>
                  <a:pt x="11722634" y="1124976"/>
                  <a:pt x="11721458" y="1118218"/>
                  <a:pt x="11721458" y="1098689"/>
                </a:cubicBezTo>
                <a:lnTo>
                  <a:pt x="11721458" y="1017808"/>
                </a:lnTo>
                <a:lnTo>
                  <a:pt x="11764357" y="1017808"/>
                </a:lnTo>
                <a:lnTo>
                  <a:pt x="11764357" y="1000923"/>
                </a:lnTo>
                <a:lnTo>
                  <a:pt x="11721458" y="1000923"/>
                </a:lnTo>
                <a:lnTo>
                  <a:pt x="11721458" y="957623"/>
                </a:lnTo>
                <a:close/>
                <a:moveTo>
                  <a:pt x="11073573" y="941062"/>
                </a:moveTo>
                <a:lnTo>
                  <a:pt x="11073573" y="952413"/>
                </a:lnTo>
                <a:lnTo>
                  <a:pt x="11081212" y="953686"/>
                </a:lnTo>
                <a:cubicBezTo>
                  <a:pt x="11104425" y="957603"/>
                  <a:pt x="11106384" y="957927"/>
                  <a:pt x="11106384" y="980541"/>
                </a:cubicBezTo>
                <a:lnTo>
                  <a:pt x="11106384" y="1139765"/>
                </a:lnTo>
                <a:lnTo>
                  <a:pt x="11147323" y="1139765"/>
                </a:lnTo>
                <a:lnTo>
                  <a:pt x="11147323" y="981708"/>
                </a:lnTo>
                <a:lnTo>
                  <a:pt x="11251827" y="1139765"/>
                </a:lnTo>
                <a:lnTo>
                  <a:pt x="11302267" y="1139765"/>
                </a:lnTo>
                <a:lnTo>
                  <a:pt x="11302267" y="941062"/>
                </a:lnTo>
                <a:lnTo>
                  <a:pt x="11299623" y="941062"/>
                </a:lnTo>
                <a:lnTo>
                  <a:pt x="11261328" y="941062"/>
                </a:lnTo>
                <a:lnTo>
                  <a:pt x="11261328" y="1091990"/>
                </a:lnTo>
                <a:cubicBezTo>
                  <a:pt x="11253492" y="1080022"/>
                  <a:pt x="11161721" y="941062"/>
                  <a:pt x="11161721" y="941062"/>
                </a:cubicBezTo>
                <a:close/>
                <a:moveTo>
                  <a:pt x="10085829" y="939103"/>
                </a:moveTo>
                <a:cubicBezTo>
                  <a:pt x="10074421" y="937731"/>
                  <a:pt x="10064062" y="945866"/>
                  <a:pt x="10062691" y="957273"/>
                </a:cubicBezTo>
                <a:cubicBezTo>
                  <a:pt x="10061319" y="968679"/>
                  <a:pt x="10069454" y="979039"/>
                  <a:pt x="10080861" y="980411"/>
                </a:cubicBezTo>
                <a:cubicBezTo>
                  <a:pt x="10082413" y="980598"/>
                  <a:pt x="10083981" y="980609"/>
                  <a:pt x="10085535" y="980444"/>
                </a:cubicBezTo>
                <a:lnTo>
                  <a:pt x="10085535" y="980415"/>
                </a:lnTo>
                <a:cubicBezTo>
                  <a:pt x="10097883" y="981196"/>
                  <a:pt x="10108570" y="971918"/>
                  <a:pt x="10109531" y="959583"/>
                </a:cubicBezTo>
                <a:cubicBezTo>
                  <a:pt x="10108536" y="947436"/>
                  <a:pt x="10097992" y="938325"/>
                  <a:pt x="10085829" y="939103"/>
                </a:cubicBezTo>
                <a:close/>
                <a:moveTo>
                  <a:pt x="9480646" y="937655"/>
                </a:moveTo>
                <a:lnTo>
                  <a:pt x="9477708" y="937919"/>
                </a:lnTo>
                <a:lnTo>
                  <a:pt x="9402293" y="944775"/>
                </a:lnTo>
                <a:lnTo>
                  <a:pt x="9402293" y="955931"/>
                </a:lnTo>
                <a:lnTo>
                  <a:pt x="9404644" y="956225"/>
                </a:lnTo>
                <a:cubicBezTo>
                  <a:pt x="9435006" y="959800"/>
                  <a:pt x="9435006" y="959800"/>
                  <a:pt x="9435006" y="981690"/>
                </a:cubicBezTo>
                <a:lnTo>
                  <a:pt x="9435006" y="1139748"/>
                </a:lnTo>
                <a:lnTo>
                  <a:pt x="9480646" y="1139748"/>
                </a:lnTo>
                <a:close/>
                <a:moveTo>
                  <a:pt x="10710404" y="932962"/>
                </a:moveTo>
                <a:lnTo>
                  <a:pt x="10707368" y="933364"/>
                </a:lnTo>
                <a:lnTo>
                  <a:pt x="10646644" y="940827"/>
                </a:lnTo>
                <a:lnTo>
                  <a:pt x="10646644" y="951600"/>
                </a:lnTo>
                <a:lnTo>
                  <a:pt x="10649288" y="951688"/>
                </a:lnTo>
                <a:cubicBezTo>
                  <a:pt x="10668191" y="952531"/>
                  <a:pt x="10672207" y="956683"/>
                  <a:pt x="10672207" y="975146"/>
                </a:cubicBezTo>
                <a:lnTo>
                  <a:pt x="10672207" y="1139766"/>
                </a:lnTo>
                <a:lnTo>
                  <a:pt x="10710404" y="1139766"/>
                </a:lnTo>
                <a:lnTo>
                  <a:pt x="10710404" y="1068719"/>
                </a:lnTo>
                <a:cubicBezTo>
                  <a:pt x="10710404" y="1042755"/>
                  <a:pt x="10729699" y="1022628"/>
                  <a:pt x="10746251" y="1022628"/>
                </a:cubicBezTo>
                <a:cubicBezTo>
                  <a:pt x="10767504" y="1022628"/>
                  <a:pt x="10767504" y="1038553"/>
                  <a:pt x="10767504" y="1052657"/>
                </a:cubicBezTo>
                <a:lnTo>
                  <a:pt x="10767504" y="1139766"/>
                </a:lnTo>
                <a:lnTo>
                  <a:pt x="10805604" y="1139766"/>
                </a:lnTo>
                <a:lnTo>
                  <a:pt x="10805604" y="1048347"/>
                </a:lnTo>
                <a:cubicBezTo>
                  <a:pt x="10805604" y="1033157"/>
                  <a:pt x="10805604" y="997682"/>
                  <a:pt x="10762705" y="997682"/>
                </a:cubicBezTo>
                <a:cubicBezTo>
                  <a:pt x="10741089" y="997754"/>
                  <a:pt x="10721158" y="1009345"/>
                  <a:pt x="10710404" y="1028093"/>
                </a:cubicBezTo>
                <a:close/>
                <a:moveTo>
                  <a:pt x="11691292" y="901218"/>
                </a:moveTo>
                <a:lnTo>
                  <a:pt x="11642419" y="957691"/>
                </a:lnTo>
                <a:lnTo>
                  <a:pt x="11682771" y="957691"/>
                </a:lnTo>
                <a:lnTo>
                  <a:pt x="11731644" y="901218"/>
                </a:lnTo>
                <a:close/>
                <a:moveTo>
                  <a:pt x="10547331" y="583241"/>
                </a:moveTo>
                <a:lnTo>
                  <a:pt x="10606292" y="728608"/>
                </a:lnTo>
                <a:lnTo>
                  <a:pt x="10488370" y="728608"/>
                </a:lnTo>
                <a:close/>
                <a:moveTo>
                  <a:pt x="11138508" y="528864"/>
                </a:moveTo>
                <a:cubicBezTo>
                  <a:pt x="11138998" y="528864"/>
                  <a:pt x="11138508" y="848508"/>
                  <a:pt x="11138508" y="848508"/>
                </a:cubicBezTo>
                <a:lnTo>
                  <a:pt x="11223130" y="848508"/>
                </a:lnTo>
                <a:cubicBezTo>
                  <a:pt x="11223130" y="848596"/>
                  <a:pt x="11223228" y="708373"/>
                  <a:pt x="11223130" y="707844"/>
                </a:cubicBezTo>
                <a:cubicBezTo>
                  <a:pt x="11223130" y="707844"/>
                  <a:pt x="11394136" y="708236"/>
                  <a:pt x="11394136" y="707844"/>
                </a:cubicBezTo>
                <a:lnTo>
                  <a:pt x="11394136" y="848508"/>
                </a:lnTo>
                <a:cubicBezTo>
                  <a:pt x="11394234" y="848508"/>
                  <a:pt x="11478758" y="848508"/>
                  <a:pt x="11478856" y="848508"/>
                </a:cubicBezTo>
                <a:cubicBezTo>
                  <a:pt x="11479150" y="848156"/>
                  <a:pt x="11478856" y="528864"/>
                  <a:pt x="11478856" y="528864"/>
                </a:cubicBezTo>
                <a:cubicBezTo>
                  <a:pt x="11477974" y="528864"/>
                  <a:pt x="11394038" y="528864"/>
                  <a:pt x="11394136" y="528864"/>
                </a:cubicBezTo>
                <a:cubicBezTo>
                  <a:pt x="11394038" y="528835"/>
                  <a:pt x="11394136" y="657149"/>
                  <a:pt x="11394136" y="656678"/>
                </a:cubicBezTo>
                <a:lnTo>
                  <a:pt x="11223130" y="656678"/>
                </a:lnTo>
                <a:lnTo>
                  <a:pt x="11223130" y="528864"/>
                </a:lnTo>
                <a:close/>
                <a:moveTo>
                  <a:pt x="10075937" y="528864"/>
                </a:moveTo>
                <a:cubicBezTo>
                  <a:pt x="10076133" y="528933"/>
                  <a:pt x="10075937" y="583241"/>
                  <a:pt x="10075937" y="583241"/>
                </a:cubicBezTo>
                <a:lnTo>
                  <a:pt x="10205416" y="583241"/>
                </a:lnTo>
                <a:lnTo>
                  <a:pt x="10205416" y="848508"/>
                </a:lnTo>
                <a:lnTo>
                  <a:pt x="10290038" y="848508"/>
                </a:lnTo>
                <a:lnTo>
                  <a:pt x="10290038" y="583241"/>
                </a:lnTo>
                <a:lnTo>
                  <a:pt x="10419517" y="583241"/>
                </a:lnTo>
                <a:lnTo>
                  <a:pt x="10419517" y="528864"/>
                </a:lnTo>
                <a:cubicBezTo>
                  <a:pt x="10419517" y="528864"/>
                  <a:pt x="10076133" y="528933"/>
                  <a:pt x="10075937" y="528864"/>
                </a:cubicBezTo>
                <a:close/>
                <a:moveTo>
                  <a:pt x="10495421" y="528864"/>
                </a:moveTo>
                <a:lnTo>
                  <a:pt x="10346060" y="848508"/>
                </a:lnTo>
                <a:cubicBezTo>
                  <a:pt x="10346060" y="848508"/>
                  <a:pt x="10440378" y="848596"/>
                  <a:pt x="10440280" y="848508"/>
                </a:cubicBezTo>
                <a:cubicBezTo>
                  <a:pt x="10440672" y="848596"/>
                  <a:pt x="10467998" y="779773"/>
                  <a:pt x="10467998" y="779773"/>
                </a:cubicBezTo>
                <a:lnTo>
                  <a:pt x="10626663" y="779773"/>
                </a:lnTo>
                <a:cubicBezTo>
                  <a:pt x="10626663" y="779773"/>
                  <a:pt x="10654479" y="848508"/>
                  <a:pt x="10654381" y="848508"/>
                </a:cubicBezTo>
                <a:cubicBezTo>
                  <a:pt x="10653793" y="848508"/>
                  <a:pt x="10748895" y="848508"/>
                  <a:pt x="10748699" y="848508"/>
                </a:cubicBezTo>
                <a:lnTo>
                  <a:pt x="10599240" y="528864"/>
                </a:lnTo>
                <a:cubicBezTo>
                  <a:pt x="10599240" y="528864"/>
                  <a:pt x="10495421" y="529060"/>
                  <a:pt x="10495421" y="528864"/>
                </a:cubicBezTo>
                <a:close/>
                <a:moveTo>
                  <a:pt x="11545848" y="528864"/>
                </a:moveTo>
                <a:lnTo>
                  <a:pt x="11545848" y="848508"/>
                </a:lnTo>
                <a:lnTo>
                  <a:pt x="11630666" y="848508"/>
                </a:lnTo>
                <a:lnTo>
                  <a:pt x="11630666" y="528864"/>
                </a:lnTo>
                <a:close/>
                <a:moveTo>
                  <a:pt x="9553515" y="528864"/>
                </a:moveTo>
                <a:cubicBezTo>
                  <a:pt x="9554005" y="528864"/>
                  <a:pt x="9553515" y="848508"/>
                  <a:pt x="9553515" y="848508"/>
                </a:cubicBezTo>
                <a:lnTo>
                  <a:pt x="9638235" y="848508"/>
                </a:lnTo>
                <a:cubicBezTo>
                  <a:pt x="9638137" y="848596"/>
                  <a:pt x="9638333" y="708372"/>
                  <a:pt x="9638235" y="707844"/>
                </a:cubicBezTo>
                <a:cubicBezTo>
                  <a:pt x="9638235" y="707844"/>
                  <a:pt x="9809143" y="708235"/>
                  <a:pt x="9809143" y="707844"/>
                </a:cubicBezTo>
                <a:lnTo>
                  <a:pt x="9809143" y="848508"/>
                </a:lnTo>
                <a:cubicBezTo>
                  <a:pt x="9809241" y="848508"/>
                  <a:pt x="9893765" y="848508"/>
                  <a:pt x="9893863" y="848508"/>
                </a:cubicBezTo>
                <a:cubicBezTo>
                  <a:pt x="9894157" y="848156"/>
                  <a:pt x="9893863" y="528864"/>
                  <a:pt x="9893863" y="528864"/>
                </a:cubicBezTo>
                <a:cubicBezTo>
                  <a:pt x="9892982" y="528864"/>
                  <a:pt x="9809045" y="528864"/>
                  <a:pt x="9809143" y="528864"/>
                </a:cubicBezTo>
                <a:cubicBezTo>
                  <a:pt x="9809045" y="528835"/>
                  <a:pt x="9809143" y="657149"/>
                  <a:pt x="9809143" y="656678"/>
                </a:cubicBezTo>
                <a:lnTo>
                  <a:pt x="9638235" y="656678"/>
                </a:lnTo>
                <a:cubicBezTo>
                  <a:pt x="9638137" y="657589"/>
                  <a:pt x="9638235" y="528864"/>
                  <a:pt x="9638235" y="528864"/>
                </a:cubicBezTo>
                <a:close/>
                <a:moveTo>
                  <a:pt x="9960953" y="528864"/>
                </a:moveTo>
                <a:lnTo>
                  <a:pt x="9960953" y="848508"/>
                </a:lnTo>
                <a:lnTo>
                  <a:pt x="10045673" y="848508"/>
                </a:lnTo>
                <a:lnTo>
                  <a:pt x="10045673" y="528864"/>
                </a:lnTo>
                <a:close/>
                <a:moveTo>
                  <a:pt x="10929795" y="520972"/>
                </a:moveTo>
                <a:cubicBezTo>
                  <a:pt x="10895705" y="520037"/>
                  <a:pt x="10861435" y="525663"/>
                  <a:pt x="10828914" y="537904"/>
                </a:cubicBezTo>
                <a:cubicBezTo>
                  <a:pt x="10798464" y="549314"/>
                  <a:pt x="10772823" y="570783"/>
                  <a:pt x="10756241" y="598756"/>
                </a:cubicBezTo>
                <a:cubicBezTo>
                  <a:pt x="10740717" y="627243"/>
                  <a:pt x="10733146" y="659380"/>
                  <a:pt x="10734302" y="691800"/>
                </a:cubicBezTo>
                <a:cubicBezTo>
                  <a:pt x="10734233" y="714967"/>
                  <a:pt x="10738073" y="737980"/>
                  <a:pt x="10745663" y="759871"/>
                </a:cubicBezTo>
                <a:lnTo>
                  <a:pt x="10745663" y="759880"/>
                </a:lnTo>
                <a:cubicBezTo>
                  <a:pt x="10761403" y="800341"/>
                  <a:pt x="10795124" y="831133"/>
                  <a:pt x="10836847" y="843130"/>
                </a:cubicBezTo>
                <a:cubicBezTo>
                  <a:pt x="10864672" y="851890"/>
                  <a:pt x="10893673" y="856355"/>
                  <a:pt x="10922840" y="856372"/>
                </a:cubicBezTo>
                <a:cubicBezTo>
                  <a:pt x="10960234" y="856306"/>
                  <a:pt x="10997237" y="848747"/>
                  <a:pt x="11031654" y="834140"/>
                </a:cubicBezTo>
                <a:cubicBezTo>
                  <a:pt x="11061389" y="821282"/>
                  <a:pt x="11083318" y="795144"/>
                  <a:pt x="11090810" y="763621"/>
                </a:cubicBezTo>
                <a:cubicBezTo>
                  <a:pt x="11093210" y="753680"/>
                  <a:pt x="11094650" y="743533"/>
                  <a:pt x="11095120" y="733318"/>
                </a:cubicBezTo>
                <a:lnTo>
                  <a:pt x="11005895" y="733318"/>
                </a:lnTo>
                <a:cubicBezTo>
                  <a:pt x="11005993" y="745104"/>
                  <a:pt x="11003623" y="756780"/>
                  <a:pt x="10998941" y="767598"/>
                </a:cubicBezTo>
                <a:cubicBezTo>
                  <a:pt x="10991918" y="783450"/>
                  <a:pt x="10978442" y="795534"/>
                  <a:pt x="10961919" y="800790"/>
                </a:cubicBezTo>
                <a:cubicBezTo>
                  <a:pt x="10949294" y="804866"/>
                  <a:pt x="10936101" y="806919"/>
                  <a:pt x="10922840" y="806873"/>
                </a:cubicBezTo>
                <a:cubicBezTo>
                  <a:pt x="10907307" y="806833"/>
                  <a:pt x="10891910" y="803983"/>
                  <a:pt x="10877395" y="798460"/>
                </a:cubicBezTo>
                <a:cubicBezTo>
                  <a:pt x="10854849" y="789938"/>
                  <a:pt x="10837689" y="771214"/>
                  <a:pt x="10831167" y="748009"/>
                </a:cubicBezTo>
                <a:cubicBezTo>
                  <a:pt x="10825907" y="729738"/>
                  <a:pt x="10823175" y="710832"/>
                  <a:pt x="10823037" y="691820"/>
                </a:cubicBezTo>
                <a:cubicBezTo>
                  <a:pt x="10823086" y="668907"/>
                  <a:pt x="10826994" y="646167"/>
                  <a:pt x="10834595" y="624553"/>
                </a:cubicBezTo>
                <a:cubicBezTo>
                  <a:pt x="10842165" y="602725"/>
                  <a:pt x="10859188" y="585486"/>
                  <a:pt x="10880921" y="577649"/>
                </a:cubicBezTo>
                <a:cubicBezTo>
                  <a:pt x="10894378" y="572858"/>
                  <a:pt x="10908560" y="570417"/>
                  <a:pt x="10922840" y="570431"/>
                </a:cubicBezTo>
                <a:cubicBezTo>
                  <a:pt x="10935387" y="570428"/>
                  <a:pt x="10947864" y="572293"/>
                  <a:pt x="10959862" y="575964"/>
                </a:cubicBezTo>
                <a:cubicBezTo>
                  <a:pt x="10978118" y="581479"/>
                  <a:pt x="10992800" y="595124"/>
                  <a:pt x="10999627" y="612928"/>
                </a:cubicBezTo>
                <a:cubicBezTo>
                  <a:pt x="11002506" y="620816"/>
                  <a:pt x="11004063" y="629125"/>
                  <a:pt x="11004230" y="637521"/>
                </a:cubicBezTo>
                <a:lnTo>
                  <a:pt x="11093063" y="637521"/>
                </a:lnTo>
                <a:cubicBezTo>
                  <a:pt x="11092456" y="630719"/>
                  <a:pt x="11091437" y="623958"/>
                  <a:pt x="11090027" y="617276"/>
                </a:cubicBezTo>
                <a:cubicBezTo>
                  <a:pt x="11083112" y="584284"/>
                  <a:pt x="11060566" y="556724"/>
                  <a:pt x="11029597" y="543409"/>
                </a:cubicBezTo>
                <a:cubicBezTo>
                  <a:pt x="10997795" y="529404"/>
                  <a:pt x="10963885" y="521907"/>
                  <a:pt x="10929795" y="520972"/>
                </a:cubicBezTo>
                <a:close/>
                <a:moveTo>
                  <a:pt x="0" y="0"/>
                </a:moveTo>
                <a:lnTo>
                  <a:pt x="12193196" y="0"/>
                </a:lnTo>
                <a:lnTo>
                  <a:pt x="12193196" y="4738686"/>
                </a:lnTo>
                <a:lnTo>
                  <a:pt x="0" y="4738686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 tIns="684000" anchor="ctr">
            <a:noAutofit/>
          </a:bodyPr>
          <a:lstStyle>
            <a:lvl1pPr algn="ctr">
              <a:defRPr sz="1800"/>
            </a:lvl1pPr>
          </a:lstStyle>
          <a:p>
            <a:r>
              <a:rPr lang="en-GB"/>
              <a:t> </a:t>
            </a:r>
          </a:p>
        </p:txBody>
      </p:sp>
      <p:grpSp>
        <p:nvGrpSpPr>
          <p:cNvPr id="16" name="グループ化 39">
            <a:extLst>
              <a:ext uri="{FF2B5EF4-FFF2-40B4-BE49-F238E27FC236}">
                <a16:creationId xmlns:a16="http://schemas.microsoft.com/office/drawing/2014/main" id="{6809A62B-C3B4-4040-AF1D-DC2BF3BDB821}"/>
              </a:ext>
            </a:extLst>
          </p:cNvPr>
          <p:cNvGrpSpPr/>
          <p:nvPr/>
        </p:nvGrpSpPr>
        <p:grpSpPr bwMode="gray">
          <a:xfrm>
            <a:off x="0" y="4739176"/>
            <a:ext cx="12192000" cy="129984"/>
            <a:chOff x="324487" y="2057426"/>
            <a:chExt cx="8495663" cy="97488"/>
          </a:xfrm>
        </p:grpSpPr>
        <p:sp>
          <p:nvSpPr>
            <p:cNvPr id="17" name="正方形/長方形 11">
              <a:extLst>
                <a:ext uri="{FF2B5EF4-FFF2-40B4-BE49-F238E27FC236}">
                  <a16:creationId xmlns:a16="http://schemas.microsoft.com/office/drawing/2014/main" id="{DE7BDB25-5A30-4A34-ABFC-B07249D3BF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4489" y="2057426"/>
              <a:ext cx="8495661" cy="97488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GB" altLang="ja-JP" sz="4623"/>
            </a:p>
          </p:txBody>
        </p:sp>
        <p:grpSp>
          <p:nvGrpSpPr>
            <p:cNvPr id="18" name="グループ化 16">
              <a:extLst>
                <a:ext uri="{FF2B5EF4-FFF2-40B4-BE49-F238E27FC236}">
                  <a16:creationId xmlns:a16="http://schemas.microsoft.com/office/drawing/2014/main" id="{74096499-38D4-462C-8826-1DB8FC711C1A}"/>
                </a:ext>
              </a:extLst>
            </p:cNvPr>
            <p:cNvGrpSpPr/>
            <p:nvPr/>
          </p:nvGrpSpPr>
          <p:grpSpPr bwMode="gray">
            <a:xfrm>
              <a:off x="324487" y="2057426"/>
              <a:ext cx="1938812" cy="97488"/>
              <a:chOff x="312738" y="2747963"/>
              <a:chExt cx="1970087" cy="109537"/>
            </a:xfrm>
          </p:grpSpPr>
          <p:sp>
            <p:nvSpPr>
              <p:cNvPr id="19" name="正方形/長方形 42">
                <a:extLst>
                  <a:ext uri="{FF2B5EF4-FFF2-40B4-BE49-F238E27FC236}">
                    <a16:creationId xmlns:a16="http://schemas.microsoft.com/office/drawing/2014/main" id="{177D7250-BABC-4571-82D6-043E996D9DB0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1970087" cy="109537"/>
              </a:xfrm>
              <a:prstGeom prst="rect">
                <a:avLst/>
              </a:prstGeom>
              <a:solidFill>
                <a:srgbClr val="FF002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altLang="ja-JP" sz="24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0" name="正方形/長方形 43">
                <a:extLst>
                  <a:ext uri="{FF2B5EF4-FFF2-40B4-BE49-F238E27FC236}">
                    <a16:creationId xmlns:a16="http://schemas.microsoft.com/office/drawing/2014/main" id="{BFDA5A74-11DA-4E7F-9508-F12960D3B74E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985837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altLang="ja-JP" sz="24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pic>
        <p:nvPicPr>
          <p:cNvPr id="23" name="Confidential" hidden="1">
            <a:extLst>
              <a:ext uri="{FF2B5EF4-FFF2-40B4-BE49-F238E27FC236}">
                <a16:creationId xmlns:a16="http://schemas.microsoft.com/office/drawing/2014/main" id="{F228D1DE-D36C-4E9B-BD91-2341FC0B7E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7200" y="345600"/>
            <a:ext cx="1671890" cy="266400"/>
          </a:xfrm>
          <a:prstGeom prst="rect">
            <a:avLst/>
          </a:prstGeom>
        </p:spPr>
      </p:pic>
      <p:pic>
        <p:nvPicPr>
          <p:cNvPr id="24" name="Public">
            <a:extLst>
              <a:ext uri="{FF2B5EF4-FFF2-40B4-BE49-F238E27FC236}">
                <a16:creationId xmlns:a16="http://schemas.microsoft.com/office/drawing/2014/main" id="{335E045B-8C20-4063-A4AC-CE1126B6A6B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5718" y="345600"/>
            <a:ext cx="1671890" cy="266400"/>
          </a:xfrm>
          <a:prstGeom prst="rect">
            <a:avLst/>
          </a:prstGeom>
        </p:spPr>
      </p:pic>
      <p:pic>
        <p:nvPicPr>
          <p:cNvPr id="25" name="Internal" hidden="1">
            <a:extLst>
              <a:ext uri="{FF2B5EF4-FFF2-40B4-BE49-F238E27FC236}">
                <a16:creationId xmlns:a16="http://schemas.microsoft.com/office/drawing/2014/main" id="{CFAE1106-3574-4FE9-B82F-D12EAEB197C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5718" y="344152"/>
            <a:ext cx="1671890" cy="266400"/>
          </a:xfrm>
          <a:prstGeom prst="rect">
            <a:avLst/>
          </a:prstGeom>
        </p:spPr>
      </p:pic>
      <p:pic>
        <p:nvPicPr>
          <p:cNvPr id="27" name="Strictly" hidden="1">
            <a:extLst>
              <a:ext uri="{FF2B5EF4-FFF2-40B4-BE49-F238E27FC236}">
                <a16:creationId xmlns:a16="http://schemas.microsoft.com/office/drawing/2014/main" id="{C9A12DA8-BB00-43A2-B6FC-35D89D95C92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61960" y="345600"/>
            <a:ext cx="1671890" cy="2664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1CABBB2-CA9C-41F3-A28D-6CEDF3BDE24A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9330" y="6370483"/>
            <a:ext cx="2663370" cy="363891"/>
          </a:xfrm>
          <a:prstGeom prst="rect">
            <a:avLst/>
          </a:prstGeom>
        </p:spPr>
      </p:pic>
      <p:sp>
        <p:nvSpPr>
          <p:cNvPr id="34" name="Footer Placeholder 4">
            <a:extLst>
              <a:ext uri="{FF2B5EF4-FFF2-40B4-BE49-F238E27FC236}">
                <a16:creationId xmlns:a16="http://schemas.microsoft.com/office/drawing/2014/main" id="{0486618B-68FB-45E3-A35A-DDD33A48B6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DC8ACF76-1594-442B-8415-8F2C0043D3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C24EC536-6FE3-4540-8D85-74C58F0BF69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6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E21B88A0-A403-4AB9-884E-E1F08D8A6559}"/>
              </a:ext>
            </a:extLst>
          </p:cNvPr>
          <p:cNvSpPr txBox="1"/>
          <p:nvPr userDrawn="1"/>
        </p:nvSpPr>
        <p:spPr bwMode="gray">
          <a:xfrm>
            <a:off x="4856400" y="6540775"/>
            <a:ext cx="24840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23 Hitachi Energy. All rights reserved.</a:t>
            </a:r>
            <a:endParaRPr kumimoji="0" lang="en-GB" sz="900" b="0" i="0" u="none" strike="noStrike" kern="1200" cap="none" spc="-1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7" name="Title 1" descr="{&#10; &quot;SkabelonDesign&quot;: {&#10; &quot;textualValue&quot;: &quot;&lt;key1/&gt;&quot;,&#10; &quot;bindingCollection&quot;: {&#10; &quot;key1&quot;: {&quot;SkabelonDesign&quot;:{&quot;type&quot;:&quot;Text&quot;,&quot;binding&quot;:&quot;Title&quot;}}&#10; }&#10; }&#10;}">
            <a:extLst>
              <a:ext uri="{FF2B5EF4-FFF2-40B4-BE49-F238E27FC236}">
                <a16:creationId xmlns:a16="http://schemas.microsoft.com/office/drawing/2014/main" id="{85A083AA-2179-4949-BA44-96F5E7F17DD0}"/>
              </a:ext>
            </a:extLst>
          </p:cNvPr>
          <p:cNvSpPr txBox="1">
            <a:spLocks/>
          </p:cNvSpPr>
          <p:nvPr userDrawn="1"/>
        </p:nvSpPr>
        <p:spPr>
          <a:xfrm>
            <a:off x="1368000" y="5090400"/>
            <a:ext cx="10555200" cy="49320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>
                <a:solidFill>
                  <a:schemeClr val="tx1"/>
                </a:solidFill>
              </a:rPr>
              <a:t>Hydrogen Solutions</a:t>
            </a:r>
          </a:p>
        </p:txBody>
      </p:sp>
      <p:sp>
        <p:nvSpPr>
          <p:cNvPr id="38" name="Subtitle 2" descr="{&#10; &quot;SkabelonDesign&quot;: {&#10; &quot;textualValue&quot;: &quot;&lt;key1/&gt;&quot;,&#10; &quot;bindingCollection&quot;: {&#10; &quot;key1&quot;: {&quot;SkabelonDesign&quot;:{&quot;type&quot;:&quot;Text&quot;,&quot;binding&quot;:&quot;SupplementaryTitle&quot;}}&#10; }&#10; }&#10;}">
            <a:extLst>
              <a:ext uri="{FF2B5EF4-FFF2-40B4-BE49-F238E27FC236}">
                <a16:creationId xmlns:a16="http://schemas.microsoft.com/office/drawing/2014/main" id="{9D64BD7E-9341-47BB-BA00-E31F74C1F95B}"/>
              </a:ext>
            </a:extLst>
          </p:cNvPr>
          <p:cNvSpPr txBox="1">
            <a:spLocks/>
          </p:cNvSpPr>
          <p:nvPr userDrawn="1"/>
        </p:nvSpPr>
        <p:spPr>
          <a:xfrm>
            <a:off x="1378800" y="5583600"/>
            <a:ext cx="10555200" cy="32760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>
              <a:solidFill>
                <a:schemeClr val="tx1"/>
              </a:solidFill>
              <a:latin typeface="+mn-lt"/>
            </a:endParaRPr>
          </a:p>
        </p:txBody>
      </p:sp>
      <p:sp>
        <p:nvSpPr>
          <p:cNvPr id="39" name="Subtitle 2" descr="{&#10; &quot;SkabelonDesign&quot;: {&#10; &quot;textualValue&quot;: &quot;&lt;key1/&gt;&quot;,&#10; &quot;bindingCollection&quot;: {&#10; &quot;key1&quot;: {&quot;SkabelonDesign&quot;:{&quot;type&quot;:&quot;Text&quot;,&quot;binding&quot;:&quot;AdditionalInformation&quot;}}&#10; }&#10; }&#10;}">
            <a:extLst>
              <a:ext uri="{FF2B5EF4-FFF2-40B4-BE49-F238E27FC236}">
                <a16:creationId xmlns:a16="http://schemas.microsoft.com/office/drawing/2014/main" id="{0EC2E723-61CE-4C8C-BECE-AF3403B1D12D}"/>
              </a:ext>
            </a:extLst>
          </p:cNvPr>
          <p:cNvSpPr txBox="1">
            <a:spLocks/>
          </p:cNvSpPr>
          <p:nvPr userDrawn="1"/>
        </p:nvSpPr>
        <p:spPr>
          <a:xfrm>
            <a:off x="1378800" y="5972400"/>
            <a:ext cx="10555200" cy="30600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>
                <a:solidFill>
                  <a:schemeClr val="tx1"/>
                </a:solidFill>
              </a:rPr>
              <a:t>Hitachi Energy</a:t>
            </a:r>
          </a:p>
        </p:txBody>
      </p:sp>
      <p:sp>
        <p:nvSpPr>
          <p:cNvPr id="40" name="text" descr="{&#10; &quot;SkabelonDesign&quot;: {&#10; &quot;textualValue&quot;: &quot;&lt;key1/&gt;&quot;,&#10; &quot;bindingCollection&quot;: {&#10; &quot;key1&quot;: {&quot;SkabelonDesign&quot;:{&quot;type&quot;:&quot;Text&quot;,&quot;binding&quot;:&quot;PPMetadata&quot;}}&#10; }&#10; }&#10;}">
            <a:extLst>
              <a:ext uri="{FF2B5EF4-FFF2-40B4-BE49-F238E27FC236}">
                <a16:creationId xmlns:a16="http://schemas.microsoft.com/office/drawing/2014/main" id="{CDF51FEF-E9E1-4C32-AB05-F101B7031708}"/>
              </a:ext>
            </a:extLst>
          </p:cNvPr>
          <p:cNvSpPr txBox="1"/>
          <p:nvPr userDrawn="1"/>
        </p:nvSpPr>
        <p:spPr bwMode="gray">
          <a:xfrm>
            <a:off x="1378800" y="6547975"/>
            <a:ext cx="2889921" cy="1549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GB" sz="930">
                <a:solidFill>
                  <a:schemeClr val="tx1"/>
                </a:solidFill>
              </a:rPr>
              <a:t>2023-03-09</a:t>
            </a:r>
          </a:p>
        </p:txBody>
      </p:sp>
    </p:spTree>
    <p:extLst>
      <p:ext uri="{BB962C8B-B14F-4D97-AF65-F5344CB8AC3E}">
        <p14:creationId xmlns:p14="http://schemas.microsoft.com/office/powerpoint/2010/main" val="1935903564"/>
      </p:ext>
    </p:extLst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Red)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D81C83C8-EE7C-474B-8A4C-FA0B57CF463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392644"/>
            <a:ext cx="4002052" cy="4952594"/>
          </a:xfrm>
          <a:solidFill>
            <a:schemeClr val="tx2"/>
          </a:solidFill>
        </p:spPr>
        <p:txBody>
          <a:bodyPr lIns="324000" tIns="252000" rIns="324000" bIns="4680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90F2AEDF-5408-4280-B382-645AF1003C84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4543425" y="1376363"/>
            <a:ext cx="7383464" cy="496887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D1B31ED-E7F7-4220-8A41-FD0D2DB4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503652-AA62-40BC-80C2-0508E1AED23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CBBCBF88-F16E-459A-B04C-3A7A90CDCA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3722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(2.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0EE7B7B-F566-4855-B2E0-D348111D66F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65625" y="1473607"/>
            <a:ext cx="7561263" cy="4871631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12445A48-DFDC-4E09-8D6E-8099DA8B65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473607"/>
            <a:ext cx="367117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CC96F22-1D0B-46E5-954A-AA05B097B747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844826"/>
            <a:ext cx="3671175" cy="4500412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7C3C68D-E277-49A8-834F-0D34C53437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A91A90-C358-4182-8941-2785F1D8674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9AE11B54-747B-49F6-9A28-91DD633733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43619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(2.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0AEFB7B0-854C-45D4-A22F-879EC656594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65625" y="1473607"/>
            <a:ext cx="7561263" cy="4187634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78A8AAB4-C8C7-488C-83C0-22CAE59FCCF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473607"/>
            <a:ext cx="367117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A58BBDD-2EE1-4C1F-AB47-C6391021C845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844826"/>
            <a:ext cx="3671175" cy="381641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0D4FF23E-C363-4D06-8128-2E419B877AA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BDFCA8A-B0DF-438D-A645-00DAEE4E9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A2D7C0-4E8E-4932-B53F-A0D5A3EC8F09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0B95AA5A-D284-4865-8A5F-EC6ED88E9B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69709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(2.3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0AEFB7B0-854C-45D4-A22F-879EC656594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65625" y="1473607"/>
            <a:ext cx="7561263" cy="4187634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78A8AAB4-C8C7-488C-83C0-22CAE59FCCF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473607"/>
            <a:ext cx="367117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A58BBDD-2EE1-4C1F-AB47-C6391021C845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844826"/>
            <a:ext cx="3671175" cy="381641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0D4FF23E-C363-4D06-8128-2E419B877AA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chemeClr val="tx2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BDFCA8A-B0DF-438D-A645-00DAEE4E9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A2D7C0-4E8E-4932-B53F-A0D5A3EC8F09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D0AFF44E-DC9C-473B-A33F-12A2B19416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82214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7E0ABA0E-3031-4D04-A99C-3A2FFCD49CA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263524" y="1378355"/>
            <a:ext cx="367223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72865FF8-1BCA-4EA6-A89C-0D5083BCA73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4256387" y="1378355"/>
            <a:ext cx="367223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F1C5E35E-D10A-42B4-960D-58E5BEC9E7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249249" y="1378355"/>
            <a:ext cx="367223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Content Placeholder 3">
            <a:extLst>
              <a:ext uri="{FF2B5EF4-FFF2-40B4-BE49-F238E27FC236}">
                <a16:creationId xmlns:a16="http://schemas.microsoft.com/office/drawing/2014/main" id="{63E7E550-48D1-4848-89AD-7BC59C0A08AD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749573"/>
            <a:ext cx="3672235" cy="459405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7" name="Content Placeholder 3">
            <a:extLst>
              <a:ext uri="{FF2B5EF4-FFF2-40B4-BE49-F238E27FC236}">
                <a16:creationId xmlns:a16="http://schemas.microsoft.com/office/drawing/2014/main" id="{8901D278-1232-4D46-9CDD-5343894C20FC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4256388" y="1749573"/>
            <a:ext cx="3672235" cy="459405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8" name="Content Placeholder 3">
            <a:extLst>
              <a:ext uri="{FF2B5EF4-FFF2-40B4-BE49-F238E27FC236}">
                <a16:creationId xmlns:a16="http://schemas.microsoft.com/office/drawing/2014/main" id="{1F4A5F9D-DCF9-4BB5-9762-2EF3B04961F1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8249250" y="1749573"/>
            <a:ext cx="3672235" cy="4594055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F447530-1BB2-420E-A7A1-85F58824A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33FE0A-B3C7-4406-8A94-867E59BB39D1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3C05A8AC-8002-4539-BE26-137B3B46B7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29206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DA80729-DBFE-418B-9D52-CF6041D6ED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263524" y="1378355"/>
            <a:ext cx="367223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57E98820-E129-4E41-8580-1A0D210E0A2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4256387" y="1378355"/>
            <a:ext cx="367223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FCF04A61-9D23-473E-B05F-E1C2B3AB85F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249249" y="1378355"/>
            <a:ext cx="367223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2FF70659-3D12-4399-BD53-03E120732342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4256388" y="1749574"/>
            <a:ext cx="3672235" cy="3911674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3">
            <a:extLst>
              <a:ext uri="{FF2B5EF4-FFF2-40B4-BE49-F238E27FC236}">
                <a16:creationId xmlns:a16="http://schemas.microsoft.com/office/drawing/2014/main" id="{D980C96F-688C-4820-9207-E738CE6AFDCD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8249250" y="1749574"/>
            <a:ext cx="3672235" cy="3911674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054D3D82-4D02-426D-A4D3-ED7B4DB18F00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749574"/>
            <a:ext cx="3672235" cy="3911674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D79CCB4-AEE2-44DB-95E4-B439552C0F8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777474D-3C2D-44B6-91A4-4BD1D8ED9D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0DD389-2C10-48FE-9B91-0861F562D795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BF366892-1082-4262-9EC7-6AC90D26F2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72441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Box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DA80729-DBFE-418B-9D52-CF6041D6ED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263524" y="1378355"/>
            <a:ext cx="367223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57E98820-E129-4E41-8580-1A0D210E0A2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4256387" y="1378355"/>
            <a:ext cx="367223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FCF04A61-9D23-473E-B05F-E1C2B3AB85F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249249" y="1378355"/>
            <a:ext cx="367223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2FF70659-3D12-4399-BD53-03E120732342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4256388" y="1749574"/>
            <a:ext cx="3672235" cy="3911674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3">
            <a:extLst>
              <a:ext uri="{FF2B5EF4-FFF2-40B4-BE49-F238E27FC236}">
                <a16:creationId xmlns:a16="http://schemas.microsoft.com/office/drawing/2014/main" id="{D980C96F-688C-4820-9207-E738CE6AFDCD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8249250" y="1749574"/>
            <a:ext cx="3672235" cy="3911674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054D3D82-4D02-426D-A4D3-ED7B4DB18F00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749574"/>
            <a:ext cx="3672235" cy="3911674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D79CCB4-AEE2-44DB-95E4-B439552C0F8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chemeClr val="tx2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777474D-3C2D-44B6-91A4-4BD1D8ED9D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04926C-6EEB-421D-89B9-50DAB4B9E99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81147F52-CFA2-45CD-9299-1374B6B4D3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94112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15F9CBB-E821-4E2F-A816-2A6B3BD027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63525" y="1125538"/>
            <a:ext cx="3672234" cy="4607718"/>
          </a:xfrm>
          <a:noFill/>
        </p:spPr>
        <p:txBody>
          <a:bodyPr tIns="684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54879FBB-2471-4EEA-96E3-1852E452248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56389" y="1125538"/>
            <a:ext cx="3672234" cy="4607718"/>
          </a:xfrm>
          <a:noFill/>
        </p:spPr>
        <p:txBody>
          <a:bodyPr tIns="684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C8A19E55-5FD1-41A7-9330-CBE422A2F98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49252" y="1125538"/>
            <a:ext cx="3672234" cy="4607718"/>
          </a:xfrm>
          <a:noFill/>
        </p:spPr>
        <p:txBody>
          <a:bodyPr tIns="684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6207F6BF-44C7-488D-ADCD-98805D32C39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267018" y="5732462"/>
            <a:ext cx="3672235" cy="612776"/>
          </a:xfrm>
          <a:solidFill>
            <a:schemeClr val="tx2"/>
          </a:solidFill>
        </p:spPr>
        <p:txBody>
          <a:bodyPr lIns="72000" tIns="36000" rIns="72000" bIns="72000" anchor="ctr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DC9F35B5-C9B8-4D17-8513-69D23F7BF18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4259881" y="5732462"/>
            <a:ext cx="3672235" cy="612776"/>
          </a:xfrm>
          <a:solidFill>
            <a:srgbClr val="4D4D4D"/>
          </a:solidFill>
        </p:spPr>
        <p:txBody>
          <a:bodyPr lIns="72000" tIns="36000" rIns="72000" bIns="72000" anchor="ctr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D2E389A2-EF80-4B19-AFA8-B0AA653E44C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252743" y="5732462"/>
            <a:ext cx="3672235" cy="612776"/>
          </a:xfrm>
          <a:solidFill>
            <a:srgbClr val="B3B3B3"/>
          </a:solidFill>
        </p:spPr>
        <p:txBody>
          <a:bodyPr lIns="72000" tIns="36000" rIns="72000" bIns="72000" anchor="ctr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39DA7FE-EFD8-44FB-A789-66635C85A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A14699-807F-4544-96BD-6B248DD7A8E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366547F9-DA08-4834-9872-F164D0491E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011913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15F9CBB-E821-4E2F-A816-2A6B3BD027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63525" y="3861048"/>
            <a:ext cx="3672234" cy="1932336"/>
          </a:xfrm>
          <a:noFill/>
        </p:spPr>
        <p:txBody>
          <a:bodyPr tIns="432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54879FBB-2471-4EEA-96E3-1852E452248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56389" y="3861048"/>
            <a:ext cx="3672234" cy="1932336"/>
          </a:xfrm>
          <a:noFill/>
        </p:spPr>
        <p:txBody>
          <a:bodyPr tIns="432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C8A19E55-5FD1-41A7-9330-CBE422A2F98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49252" y="3861048"/>
            <a:ext cx="3672234" cy="1932336"/>
          </a:xfrm>
          <a:noFill/>
        </p:spPr>
        <p:txBody>
          <a:bodyPr tIns="432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F40D1890-8040-4006-A3B9-446A3E6E0CFB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63525" y="1125539"/>
            <a:ext cx="3672234" cy="1943421"/>
          </a:xfrm>
          <a:noFill/>
        </p:spPr>
        <p:txBody>
          <a:bodyPr tIns="432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47177829-69B6-4B8D-AA32-306D7D78944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56389" y="1125539"/>
            <a:ext cx="3672234" cy="1943421"/>
          </a:xfrm>
          <a:noFill/>
        </p:spPr>
        <p:txBody>
          <a:bodyPr tIns="432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D9296858-018B-48AE-96A4-CE6634F857C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249252" y="1125539"/>
            <a:ext cx="3672234" cy="1943421"/>
          </a:xfrm>
          <a:noFill/>
        </p:spPr>
        <p:txBody>
          <a:bodyPr tIns="432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14FDA7B6-0CB9-4801-8BCD-C533322EEF8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267018" y="3050710"/>
            <a:ext cx="3672235" cy="554326"/>
          </a:xfrm>
          <a:solidFill>
            <a:schemeClr val="tx2"/>
          </a:solidFill>
        </p:spPr>
        <p:txBody>
          <a:bodyPr lIns="72000" tIns="36000" rIns="72000" bIns="72000" anchor="ctr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01E9159C-B757-487C-ACBC-90F7041B08B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4259881" y="3050710"/>
            <a:ext cx="3672235" cy="554326"/>
          </a:xfrm>
          <a:solidFill>
            <a:srgbClr val="4D4D4D"/>
          </a:solidFill>
        </p:spPr>
        <p:txBody>
          <a:bodyPr lIns="72000" tIns="36000" rIns="72000" bIns="72000" anchor="ctr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689B320E-7199-4B9B-BBB6-BECC119A610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>
          <a:xfrm>
            <a:off x="8252743" y="3050710"/>
            <a:ext cx="3672235" cy="554326"/>
          </a:xfrm>
          <a:solidFill>
            <a:srgbClr val="B3B3B3"/>
          </a:solidFill>
        </p:spPr>
        <p:txBody>
          <a:bodyPr lIns="72000" tIns="36000" rIns="72000" bIns="72000" anchor="ctr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4C194628-5843-4993-8645-21D277A5F84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267018" y="5790912"/>
            <a:ext cx="3672235" cy="554326"/>
          </a:xfrm>
          <a:solidFill>
            <a:schemeClr val="tx2"/>
          </a:solidFill>
        </p:spPr>
        <p:txBody>
          <a:bodyPr lIns="72000" tIns="36000" rIns="72000" bIns="72000" anchor="ctr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01EBD6AF-BB8D-4CD7-89EF-691423556D1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4259881" y="5790912"/>
            <a:ext cx="3672235" cy="554326"/>
          </a:xfrm>
          <a:solidFill>
            <a:srgbClr val="4D4D4D"/>
          </a:solidFill>
        </p:spPr>
        <p:txBody>
          <a:bodyPr lIns="72000" tIns="36000" rIns="72000" bIns="72000" anchor="ctr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DBDC85D8-AC49-4BE9-9A89-F6EADB551C6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 bwMode="gray">
          <a:xfrm>
            <a:off x="8252743" y="5790912"/>
            <a:ext cx="3672235" cy="554326"/>
          </a:xfrm>
          <a:solidFill>
            <a:srgbClr val="B3B3B3"/>
          </a:solidFill>
        </p:spPr>
        <p:txBody>
          <a:bodyPr lIns="72000" tIns="36000" rIns="72000" bIns="72000" anchor="ctr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62076778-1C0B-4DF5-BED1-40F85B3978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0EB62C-8E21-4E54-8EEF-C68F4C6B9FFD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Footer Placeholder 5">
            <a:extLst>
              <a:ext uri="{FF2B5EF4-FFF2-40B4-BE49-F238E27FC236}">
                <a16:creationId xmlns:a16="http://schemas.microsoft.com/office/drawing/2014/main" id="{7E28699A-DA2D-4918-AFB2-85AA3D412F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149728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CF477D-6C63-4F4F-9AE3-EEDFA6E93E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5B82CA-C741-4F61-8DD8-8CF4BB983BD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25AA4165-D205-48C8-9745-AE16342A66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11200" y="6456794"/>
            <a:ext cx="6123600" cy="234138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22139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- Darker Picture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EB87F6C0-6A0D-49A9-B92D-47AC66E82F62}"/>
              </a:ext>
            </a:extLst>
          </p:cNvPr>
          <p:cNvSpPr/>
          <p:nvPr userDrawn="1"/>
        </p:nvSpPr>
        <p:spPr>
          <a:xfrm rot="20700000">
            <a:off x="11630945" y="891479"/>
            <a:ext cx="125787" cy="6268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GB" sz="1400" err="1">
              <a:solidFill>
                <a:schemeClr val="tx1"/>
              </a:solidFill>
            </a:endParaRP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7B060B46-A36B-42A8-BC2B-4D51C11E5CF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" y="4"/>
            <a:ext cx="12193196" cy="4738686"/>
          </a:xfrm>
          <a:custGeom>
            <a:avLst/>
            <a:gdLst>
              <a:gd name="connsiteX0" fmla="*/ 9943716 w 12193196"/>
              <a:gd name="connsiteY0" fmla="*/ 1018573 h 4738686"/>
              <a:gd name="connsiteX1" fmla="*/ 9943716 w 12193196"/>
              <a:gd name="connsiteY1" fmla="*/ 1018583 h 4738686"/>
              <a:gd name="connsiteX2" fmla="*/ 9972804 w 12193196"/>
              <a:gd name="connsiteY2" fmla="*/ 1068171 h 4738686"/>
              <a:gd name="connsiteX3" fmla="*/ 9944107 w 12193196"/>
              <a:gd name="connsiteY3" fmla="*/ 1122040 h 4738686"/>
              <a:gd name="connsiteX4" fmla="*/ 9914039 w 12193196"/>
              <a:gd name="connsiteY4" fmla="*/ 1079406 h 4738686"/>
              <a:gd name="connsiteX5" fmla="*/ 9914039 w 12193196"/>
              <a:gd name="connsiteY5" fmla="*/ 1067545 h 4738686"/>
              <a:gd name="connsiteX6" fmla="*/ 9943716 w 12193196"/>
              <a:gd name="connsiteY6" fmla="*/ 1018573 h 4738686"/>
              <a:gd name="connsiteX7" fmla="*/ 11408435 w 12193196"/>
              <a:gd name="connsiteY7" fmla="*/ 1012941 h 4738686"/>
              <a:gd name="connsiteX8" fmla="*/ 11434684 w 12193196"/>
              <a:gd name="connsiteY8" fmla="*/ 1041128 h 4738686"/>
              <a:gd name="connsiteX9" fmla="*/ 11379836 w 12193196"/>
              <a:gd name="connsiteY9" fmla="*/ 1041128 h 4738686"/>
              <a:gd name="connsiteX10" fmla="*/ 11408435 w 12193196"/>
              <a:gd name="connsiteY10" fmla="*/ 1012941 h 4738686"/>
              <a:gd name="connsiteX11" fmla="*/ 10350271 w 12193196"/>
              <a:gd name="connsiteY11" fmla="*/ 1012834 h 4738686"/>
              <a:gd name="connsiteX12" fmla="*/ 10376618 w 12193196"/>
              <a:gd name="connsiteY12" fmla="*/ 1041021 h 4738686"/>
              <a:gd name="connsiteX13" fmla="*/ 10321770 w 12193196"/>
              <a:gd name="connsiteY13" fmla="*/ 1041021 h 4738686"/>
              <a:gd name="connsiteX14" fmla="*/ 10350271 w 12193196"/>
              <a:gd name="connsiteY14" fmla="*/ 1012834 h 4738686"/>
              <a:gd name="connsiteX15" fmla="*/ 10912556 w 12193196"/>
              <a:gd name="connsiteY15" fmla="*/ 1012833 h 4738686"/>
              <a:gd name="connsiteX16" fmla="*/ 10938805 w 12193196"/>
              <a:gd name="connsiteY16" fmla="*/ 1041021 h 4738686"/>
              <a:gd name="connsiteX17" fmla="*/ 10883957 w 12193196"/>
              <a:gd name="connsiteY17" fmla="*/ 1041021 h 4738686"/>
              <a:gd name="connsiteX18" fmla="*/ 10912556 w 12193196"/>
              <a:gd name="connsiteY18" fmla="*/ 1012833 h 4738686"/>
              <a:gd name="connsiteX19" fmla="*/ 11605397 w 12193196"/>
              <a:gd name="connsiteY19" fmla="*/ 1000835 h 4738686"/>
              <a:gd name="connsiteX20" fmla="*/ 11568179 w 12193196"/>
              <a:gd name="connsiteY20" fmla="*/ 1043841 h 4738686"/>
              <a:gd name="connsiteX21" fmla="*/ 11535270 w 12193196"/>
              <a:gd name="connsiteY21" fmla="*/ 1000923 h 4738686"/>
              <a:gd name="connsiteX22" fmla="*/ 11476897 w 12193196"/>
              <a:gd name="connsiteY22" fmla="*/ 1000923 h 4738686"/>
              <a:gd name="connsiteX23" fmla="*/ 11476897 w 12193196"/>
              <a:gd name="connsiteY23" fmla="*/ 1011922 h 4738686"/>
              <a:gd name="connsiteX24" fmla="*/ 11479443 w 12193196"/>
              <a:gd name="connsiteY24" fmla="*/ 1012079 h 4738686"/>
              <a:gd name="connsiteX25" fmla="*/ 11516074 w 12193196"/>
              <a:gd name="connsiteY25" fmla="*/ 1033136 h 4738686"/>
              <a:gd name="connsiteX26" fmla="*/ 11539971 w 12193196"/>
              <a:gd name="connsiteY26" fmla="*/ 1064899 h 4738686"/>
              <a:gd name="connsiteX27" fmla="*/ 11500893 w 12193196"/>
              <a:gd name="connsiteY27" fmla="*/ 1110021 h 4738686"/>
              <a:gd name="connsiteX28" fmla="*/ 11541245 w 12193196"/>
              <a:gd name="connsiteY28" fmla="*/ 1110021 h 4738686"/>
              <a:gd name="connsiteX29" fmla="*/ 11558776 w 12193196"/>
              <a:gd name="connsiteY29" fmla="*/ 1089874 h 4738686"/>
              <a:gd name="connsiteX30" fmla="*/ 11596386 w 12193196"/>
              <a:gd name="connsiteY30" fmla="*/ 1139824 h 4738686"/>
              <a:gd name="connsiteX31" fmla="*/ 11641635 w 12193196"/>
              <a:gd name="connsiteY31" fmla="*/ 1139824 h 4738686"/>
              <a:gd name="connsiteX32" fmla="*/ 11569942 w 12193196"/>
              <a:gd name="connsiteY32" fmla="*/ 1046192 h 4738686"/>
              <a:gd name="connsiteX33" fmla="*/ 11606474 w 12193196"/>
              <a:gd name="connsiteY33" fmla="*/ 1046221 h 4738686"/>
              <a:gd name="connsiteX34" fmla="*/ 11645651 w 12193196"/>
              <a:gd name="connsiteY34" fmla="*/ 1000835 h 4738686"/>
              <a:gd name="connsiteX35" fmla="*/ 11409709 w 12193196"/>
              <a:gd name="connsiteY35" fmla="*/ 997750 h 4738686"/>
              <a:gd name="connsiteX36" fmla="*/ 11338211 w 12193196"/>
              <a:gd name="connsiteY36" fmla="*/ 1065684 h 4738686"/>
              <a:gd name="connsiteX37" fmla="*/ 11421168 w 12193196"/>
              <a:gd name="connsiteY37" fmla="*/ 1143008 h 4738686"/>
              <a:gd name="connsiteX38" fmla="*/ 11467788 w 12193196"/>
              <a:gd name="connsiteY38" fmla="*/ 1135231 h 4738686"/>
              <a:gd name="connsiteX39" fmla="*/ 11470041 w 12193196"/>
              <a:gd name="connsiteY39" fmla="*/ 1134527 h 4738686"/>
              <a:gd name="connsiteX40" fmla="*/ 11470041 w 12193196"/>
              <a:gd name="connsiteY40" fmla="*/ 1116084 h 4738686"/>
              <a:gd name="connsiteX41" fmla="*/ 11466417 w 12193196"/>
              <a:gd name="connsiteY41" fmla="*/ 1117376 h 4738686"/>
              <a:gd name="connsiteX42" fmla="*/ 11436545 w 12193196"/>
              <a:gd name="connsiteY42" fmla="*/ 1122088 h 4738686"/>
              <a:gd name="connsiteX43" fmla="*/ 11379738 w 12193196"/>
              <a:gd name="connsiteY43" fmla="*/ 1058034 h 4738686"/>
              <a:gd name="connsiteX44" fmla="*/ 11472979 w 12193196"/>
              <a:gd name="connsiteY44" fmla="*/ 1058034 h 4738686"/>
              <a:gd name="connsiteX45" fmla="*/ 11472979 w 12193196"/>
              <a:gd name="connsiteY45" fmla="*/ 1055330 h 4738686"/>
              <a:gd name="connsiteX46" fmla="*/ 11409709 w 12193196"/>
              <a:gd name="connsiteY46" fmla="*/ 997750 h 4738686"/>
              <a:gd name="connsiteX47" fmla="*/ 9781426 w 12193196"/>
              <a:gd name="connsiteY47" fmla="*/ 997723 h 4738686"/>
              <a:gd name="connsiteX48" fmla="*/ 9724032 w 12193196"/>
              <a:gd name="connsiteY48" fmla="*/ 1038926 h 4738686"/>
              <a:gd name="connsiteX49" fmla="*/ 9765951 w 12193196"/>
              <a:gd name="connsiteY49" fmla="*/ 1082648 h 4738686"/>
              <a:gd name="connsiteX50" fmla="*/ 9795725 w 12193196"/>
              <a:gd name="connsiteY50" fmla="*/ 1108378 h 4738686"/>
              <a:gd name="connsiteX51" fmla="*/ 9770261 w 12193196"/>
              <a:gd name="connsiteY51" fmla="*/ 1124901 h 4738686"/>
              <a:gd name="connsiteX52" fmla="*/ 9728439 w 12193196"/>
              <a:gd name="connsiteY52" fmla="*/ 1110376 h 4738686"/>
              <a:gd name="connsiteX53" fmla="*/ 9724326 w 12193196"/>
              <a:gd name="connsiteY53" fmla="*/ 1107888 h 4738686"/>
              <a:gd name="connsiteX54" fmla="*/ 9724326 w 12193196"/>
              <a:gd name="connsiteY54" fmla="*/ 1137271 h 4738686"/>
              <a:gd name="connsiteX55" fmla="*/ 9727166 w 12193196"/>
              <a:gd name="connsiteY55" fmla="*/ 1137888 h 4738686"/>
              <a:gd name="connsiteX56" fmla="*/ 9768987 w 12193196"/>
              <a:gd name="connsiteY56" fmla="*/ 1142971 h 4738686"/>
              <a:gd name="connsiteX57" fmla="*/ 9830593 w 12193196"/>
              <a:gd name="connsiteY57" fmla="*/ 1100631 h 4738686"/>
              <a:gd name="connsiteX58" fmla="*/ 9786911 w 12193196"/>
              <a:gd name="connsiteY58" fmla="*/ 1052913 h 4738686"/>
              <a:gd name="connsiteX59" fmla="*/ 9786911 w 12193196"/>
              <a:gd name="connsiteY59" fmla="*/ 1052884 h 4738686"/>
              <a:gd name="connsiteX60" fmla="*/ 9758899 w 12193196"/>
              <a:gd name="connsiteY60" fmla="*/ 1028779 h 4738686"/>
              <a:gd name="connsiteX61" fmla="*/ 9779075 w 12193196"/>
              <a:gd name="connsiteY61" fmla="*/ 1015714 h 4738686"/>
              <a:gd name="connsiteX62" fmla="*/ 9814824 w 12193196"/>
              <a:gd name="connsiteY62" fmla="*/ 1028006 h 4738686"/>
              <a:gd name="connsiteX63" fmla="*/ 9820799 w 12193196"/>
              <a:gd name="connsiteY63" fmla="*/ 1031649 h 4738686"/>
              <a:gd name="connsiteX64" fmla="*/ 9820799 w 12193196"/>
              <a:gd name="connsiteY64" fmla="*/ 1003079 h 4738686"/>
              <a:gd name="connsiteX65" fmla="*/ 9816097 w 12193196"/>
              <a:gd name="connsiteY65" fmla="*/ 1002101 h 4738686"/>
              <a:gd name="connsiteX66" fmla="*/ 9781426 w 12193196"/>
              <a:gd name="connsiteY66" fmla="*/ 997723 h 4738686"/>
              <a:gd name="connsiteX67" fmla="*/ 10913830 w 12193196"/>
              <a:gd name="connsiteY67" fmla="*/ 997682 h 4738686"/>
              <a:gd name="connsiteX68" fmla="*/ 10842430 w 12193196"/>
              <a:gd name="connsiteY68" fmla="*/ 1065566 h 4738686"/>
              <a:gd name="connsiteX69" fmla="*/ 10925289 w 12193196"/>
              <a:gd name="connsiteY69" fmla="*/ 1142940 h 4738686"/>
              <a:gd name="connsiteX70" fmla="*/ 10971909 w 12193196"/>
              <a:gd name="connsiteY70" fmla="*/ 1135104 h 4738686"/>
              <a:gd name="connsiteX71" fmla="*/ 10974162 w 12193196"/>
              <a:gd name="connsiteY71" fmla="*/ 1134399 h 4738686"/>
              <a:gd name="connsiteX72" fmla="*/ 10974162 w 12193196"/>
              <a:gd name="connsiteY72" fmla="*/ 1115976 h 4738686"/>
              <a:gd name="connsiteX73" fmla="*/ 10970538 w 12193196"/>
              <a:gd name="connsiteY73" fmla="*/ 1117289 h 4738686"/>
              <a:gd name="connsiteX74" fmla="*/ 10940666 w 12193196"/>
              <a:gd name="connsiteY74" fmla="*/ 1122000 h 4738686"/>
              <a:gd name="connsiteX75" fmla="*/ 10883957 w 12193196"/>
              <a:gd name="connsiteY75" fmla="*/ 1057926 h 4738686"/>
              <a:gd name="connsiteX76" fmla="*/ 10977100 w 12193196"/>
              <a:gd name="connsiteY76" fmla="*/ 1057926 h 4738686"/>
              <a:gd name="connsiteX77" fmla="*/ 10977100 w 12193196"/>
              <a:gd name="connsiteY77" fmla="*/ 1055242 h 4738686"/>
              <a:gd name="connsiteX78" fmla="*/ 10913830 w 12193196"/>
              <a:gd name="connsiteY78" fmla="*/ 997682 h 4738686"/>
              <a:gd name="connsiteX79" fmla="*/ 10351643 w 12193196"/>
              <a:gd name="connsiteY79" fmla="*/ 997682 h 4738686"/>
              <a:gd name="connsiteX80" fmla="*/ 10280145 w 12193196"/>
              <a:gd name="connsiteY80" fmla="*/ 1065566 h 4738686"/>
              <a:gd name="connsiteX81" fmla="*/ 10363102 w 12193196"/>
              <a:gd name="connsiteY81" fmla="*/ 1142940 h 4738686"/>
              <a:gd name="connsiteX82" fmla="*/ 10409722 w 12193196"/>
              <a:gd name="connsiteY82" fmla="*/ 1135104 h 4738686"/>
              <a:gd name="connsiteX83" fmla="*/ 10411975 w 12193196"/>
              <a:gd name="connsiteY83" fmla="*/ 1134399 h 4738686"/>
              <a:gd name="connsiteX84" fmla="*/ 10411975 w 12193196"/>
              <a:gd name="connsiteY84" fmla="*/ 1115976 h 4738686"/>
              <a:gd name="connsiteX85" fmla="*/ 10408351 w 12193196"/>
              <a:gd name="connsiteY85" fmla="*/ 1117289 h 4738686"/>
              <a:gd name="connsiteX86" fmla="*/ 10378479 w 12193196"/>
              <a:gd name="connsiteY86" fmla="*/ 1122000 h 4738686"/>
              <a:gd name="connsiteX87" fmla="*/ 10321672 w 12193196"/>
              <a:gd name="connsiteY87" fmla="*/ 1057926 h 4738686"/>
              <a:gd name="connsiteX88" fmla="*/ 10414913 w 12193196"/>
              <a:gd name="connsiteY88" fmla="*/ 1057926 h 4738686"/>
              <a:gd name="connsiteX89" fmla="*/ 10414913 w 12193196"/>
              <a:gd name="connsiteY89" fmla="*/ 1055242 h 4738686"/>
              <a:gd name="connsiteX90" fmla="*/ 10351643 w 12193196"/>
              <a:gd name="connsiteY90" fmla="*/ 997682 h 4738686"/>
              <a:gd name="connsiteX91" fmla="*/ 10104241 w 12193196"/>
              <a:gd name="connsiteY91" fmla="*/ 997212 h 4738686"/>
              <a:gd name="connsiteX92" fmla="*/ 10101107 w 12193196"/>
              <a:gd name="connsiteY92" fmla="*/ 997702 h 4738686"/>
              <a:gd name="connsiteX93" fmla="*/ 10040873 w 12193196"/>
              <a:gd name="connsiteY93" fmla="*/ 1007280 h 4738686"/>
              <a:gd name="connsiteX94" fmla="*/ 10040873 w 12193196"/>
              <a:gd name="connsiteY94" fmla="*/ 1017937 h 4738686"/>
              <a:gd name="connsiteX95" fmla="*/ 10043517 w 12193196"/>
              <a:gd name="connsiteY95" fmla="*/ 1018005 h 4738686"/>
              <a:gd name="connsiteX96" fmla="*/ 10066142 w 12193196"/>
              <a:gd name="connsiteY96" fmla="*/ 1040865 h 4738686"/>
              <a:gd name="connsiteX97" fmla="*/ 10066142 w 12193196"/>
              <a:gd name="connsiteY97" fmla="*/ 1139787 h 4738686"/>
              <a:gd name="connsiteX98" fmla="*/ 10104241 w 12193196"/>
              <a:gd name="connsiteY98" fmla="*/ 1139787 h 4738686"/>
              <a:gd name="connsiteX99" fmla="*/ 9914333 w 12193196"/>
              <a:gd name="connsiteY99" fmla="*/ 997212 h 4738686"/>
              <a:gd name="connsiteX100" fmla="*/ 9911199 w 12193196"/>
              <a:gd name="connsiteY100" fmla="*/ 997703 h 4738686"/>
              <a:gd name="connsiteX101" fmla="*/ 9850377 w 12193196"/>
              <a:gd name="connsiteY101" fmla="*/ 1007280 h 4738686"/>
              <a:gd name="connsiteX102" fmla="*/ 9850377 w 12193196"/>
              <a:gd name="connsiteY102" fmla="*/ 1017937 h 4738686"/>
              <a:gd name="connsiteX103" fmla="*/ 9853021 w 12193196"/>
              <a:gd name="connsiteY103" fmla="*/ 1018005 h 4738686"/>
              <a:gd name="connsiteX104" fmla="*/ 9875940 w 12193196"/>
              <a:gd name="connsiteY104" fmla="*/ 1040865 h 4738686"/>
              <a:gd name="connsiteX105" fmla="*/ 9875940 w 12193196"/>
              <a:gd name="connsiteY105" fmla="*/ 1198327 h 4738686"/>
              <a:gd name="connsiteX106" fmla="*/ 9914039 w 12193196"/>
              <a:gd name="connsiteY106" fmla="*/ 1198327 h 4738686"/>
              <a:gd name="connsiteX107" fmla="*/ 9914039 w 12193196"/>
              <a:gd name="connsiteY107" fmla="*/ 1126594 h 4738686"/>
              <a:gd name="connsiteX108" fmla="*/ 9953216 w 12193196"/>
              <a:gd name="connsiteY108" fmla="*/ 1142940 h 4738686"/>
              <a:gd name="connsiteX109" fmla="*/ 10014234 w 12193196"/>
              <a:gd name="connsiteY109" fmla="*/ 1068171 h 4738686"/>
              <a:gd name="connsiteX110" fmla="*/ 9954587 w 12193196"/>
              <a:gd name="connsiteY110" fmla="*/ 997654 h 4738686"/>
              <a:gd name="connsiteX111" fmla="*/ 9954587 w 12193196"/>
              <a:gd name="connsiteY111" fmla="*/ 997682 h 4738686"/>
              <a:gd name="connsiteX112" fmla="*/ 9914333 w 12193196"/>
              <a:gd name="connsiteY112" fmla="*/ 1017339 h 4738686"/>
              <a:gd name="connsiteX113" fmla="*/ 9585052 w 12193196"/>
              <a:gd name="connsiteY113" fmla="*/ 997212 h 4738686"/>
              <a:gd name="connsiteX114" fmla="*/ 9581918 w 12193196"/>
              <a:gd name="connsiteY114" fmla="*/ 997703 h 4738686"/>
              <a:gd name="connsiteX115" fmla="*/ 9520704 w 12193196"/>
              <a:gd name="connsiteY115" fmla="*/ 1007280 h 4738686"/>
              <a:gd name="connsiteX116" fmla="*/ 9520704 w 12193196"/>
              <a:gd name="connsiteY116" fmla="*/ 1017986 h 4738686"/>
              <a:gd name="connsiteX117" fmla="*/ 9523348 w 12193196"/>
              <a:gd name="connsiteY117" fmla="*/ 1017986 h 4738686"/>
              <a:gd name="connsiteX118" fmla="*/ 9546952 w 12193196"/>
              <a:gd name="connsiteY118" fmla="*/ 1040846 h 4738686"/>
              <a:gd name="connsiteX119" fmla="*/ 9546952 w 12193196"/>
              <a:gd name="connsiteY119" fmla="*/ 1139767 h 4738686"/>
              <a:gd name="connsiteX120" fmla="*/ 9585052 w 12193196"/>
              <a:gd name="connsiteY120" fmla="*/ 1139767 h 4738686"/>
              <a:gd name="connsiteX121" fmla="*/ 9585052 w 12193196"/>
              <a:gd name="connsiteY121" fmla="*/ 1066967 h 4738686"/>
              <a:gd name="connsiteX122" fmla="*/ 9622661 w 12193196"/>
              <a:gd name="connsiteY122" fmla="*/ 1022628 h 4738686"/>
              <a:gd name="connsiteX123" fmla="*/ 9641858 w 12193196"/>
              <a:gd name="connsiteY123" fmla="*/ 1062687 h 4738686"/>
              <a:gd name="connsiteX124" fmla="*/ 9641858 w 12193196"/>
              <a:gd name="connsiteY124" fmla="*/ 1139767 h 4738686"/>
              <a:gd name="connsiteX125" fmla="*/ 9680055 w 12193196"/>
              <a:gd name="connsiteY125" fmla="*/ 1139767 h 4738686"/>
              <a:gd name="connsiteX126" fmla="*/ 9680055 w 12193196"/>
              <a:gd name="connsiteY126" fmla="*/ 1040866 h 4738686"/>
              <a:gd name="connsiteX127" fmla="*/ 9637647 w 12193196"/>
              <a:gd name="connsiteY127" fmla="*/ 997682 h 4738686"/>
              <a:gd name="connsiteX128" fmla="*/ 9585052 w 12193196"/>
              <a:gd name="connsiteY128" fmla="*/ 1028230 h 4738686"/>
              <a:gd name="connsiteX129" fmla="*/ 10204730 w 12193196"/>
              <a:gd name="connsiteY129" fmla="*/ 997212 h 4738686"/>
              <a:gd name="connsiteX130" fmla="*/ 10201596 w 12193196"/>
              <a:gd name="connsiteY130" fmla="*/ 997702 h 4738686"/>
              <a:gd name="connsiteX131" fmla="*/ 10140774 w 12193196"/>
              <a:gd name="connsiteY131" fmla="*/ 1007280 h 4738686"/>
              <a:gd name="connsiteX132" fmla="*/ 10140774 w 12193196"/>
              <a:gd name="connsiteY132" fmla="*/ 1017985 h 4738686"/>
              <a:gd name="connsiteX133" fmla="*/ 10143418 w 12193196"/>
              <a:gd name="connsiteY133" fmla="*/ 1017985 h 4738686"/>
              <a:gd name="connsiteX134" fmla="*/ 10166631 w 12193196"/>
              <a:gd name="connsiteY134" fmla="*/ 1040845 h 4738686"/>
              <a:gd name="connsiteX135" fmla="*/ 10166631 w 12193196"/>
              <a:gd name="connsiteY135" fmla="*/ 1139766 h 4738686"/>
              <a:gd name="connsiteX136" fmla="*/ 10204730 w 12193196"/>
              <a:gd name="connsiteY136" fmla="*/ 1139766 h 4738686"/>
              <a:gd name="connsiteX137" fmla="*/ 10204730 w 12193196"/>
              <a:gd name="connsiteY137" fmla="*/ 1068455 h 4738686"/>
              <a:gd name="connsiteX138" fmla="*/ 10237749 w 12193196"/>
              <a:gd name="connsiteY138" fmla="*/ 1028396 h 4738686"/>
              <a:gd name="connsiteX139" fmla="*/ 10244592 w 12193196"/>
              <a:gd name="connsiteY139" fmla="*/ 1028377 h 4738686"/>
              <a:gd name="connsiteX140" fmla="*/ 10257815 w 12193196"/>
              <a:gd name="connsiteY140" fmla="*/ 1030933 h 4738686"/>
              <a:gd name="connsiteX141" fmla="*/ 10263985 w 12193196"/>
              <a:gd name="connsiteY141" fmla="*/ 1032667 h 4738686"/>
              <a:gd name="connsiteX142" fmla="*/ 10263985 w 12193196"/>
              <a:gd name="connsiteY142" fmla="*/ 1029112 h 4738686"/>
              <a:gd name="connsiteX143" fmla="*/ 10263985 w 12193196"/>
              <a:gd name="connsiteY143" fmla="*/ 999484 h 4738686"/>
              <a:gd name="connsiteX144" fmla="*/ 10261732 w 12193196"/>
              <a:gd name="connsiteY144" fmla="*/ 999141 h 4738686"/>
              <a:gd name="connsiteX145" fmla="*/ 10243613 w 12193196"/>
              <a:gd name="connsiteY145" fmla="*/ 997682 h 4738686"/>
              <a:gd name="connsiteX146" fmla="*/ 10204730 w 12193196"/>
              <a:gd name="connsiteY146" fmla="*/ 1025889 h 4738686"/>
              <a:gd name="connsiteX147" fmla="*/ 10548800 w 12193196"/>
              <a:gd name="connsiteY147" fmla="*/ 957712 h 4738686"/>
              <a:gd name="connsiteX148" fmla="*/ 10548800 w 12193196"/>
              <a:gd name="connsiteY148" fmla="*/ 1000943 h 4738686"/>
              <a:gd name="connsiteX149" fmla="*/ 10523237 w 12193196"/>
              <a:gd name="connsiteY149" fmla="*/ 1000943 h 4738686"/>
              <a:gd name="connsiteX150" fmla="*/ 10523237 w 12193196"/>
              <a:gd name="connsiteY150" fmla="*/ 1017828 h 4738686"/>
              <a:gd name="connsiteX151" fmla="*/ 10548800 w 12193196"/>
              <a:gd name="connsiteY151" fmla="*/ 1017828 h 4738686"/>
              <a:gd name="connsiteX152" fmla="*/ 10548800 w 12193196"/>
              <a:gd name="connsiteY152" fmla="*/ 1103283 h 4738686"/>
              <a:gd name="connsiteX153" fmla="*/ 10601199 w 12193196"/>
              <a:gd name="connsiteY153" fmla="*/ 1143028 h 4738686"/>
              <a:gd name="connsiteX154" fmla="*/ 10623627 w 12193196"/>
              <a:gd name="connsiteY154" fmla="*/ 1140697 h 4738686"/>
              <a:gd name="connsiteX155" fmla="*/ 10625880 w 12193196"/>
              <a:gd name="connsiteY155" fmla="*/ 1140364 h 4738686"/>
              <a:gd name="connsiteX156" fmla="*/ 10625880 w 12193196"/>
              <a:gd name="connsiteY156" fmla="*/ 1123146 h 4738686"/>
              <a:gd name="connsiteX157" fmla="*/ 10622648 w 12193196"/>
              <a:gd name="connsiteY157" fmla="*/ 1123880 h 4738686"/>
              <a:gd name="connsiteX158" fmla="*/ 10611091 w 12193196"/>
              <a:gd name="connsiteY158" fmla="*/ 1124977 h 4738686"/>
              <a:gd name="connsiteX159" fmla="*/ 10586899 w 12193196"/>
              <a:gd name="connsiteY159" fmla="*/ 1098690 h 4738686"/>
              <a:gd name="connsiteX160" fmla="*/ 10586899 w 12193196"/>
              <a:gd name="connsiteY160" fmla="*/ 1017809 h 4738686"/>
              <a:gd name="connsiteX161" fmla="*/ 10629798 w 12193196"/>
              <a:gd name="connsiteY161" fmla="*/ 1017809 h 4738686"/>
              <a:gd name="connsiteX162" fmla="*/ 10629798 w 12193196"/>
              <a:gd name="connsiteY162" fmla="*/ 1000923 h 4738686"/>
              <a:gd name="connsiteX163" fmla="*/ 10586899 w 12193196"/>
              <a:gd name="connsiteY163" fmla="*/ 1000923 h 4738686"/>
              <a:gd name="connsiteX164" fmla="*/ 10586899 w 12193196"/>
              <a:gd name="connsiteY164" fmla="*/ 957712 h 4738686"/>
              <a:gd name="connsiteX165" fmla="*/ 11683359 w 12193196"/>
              <a:gd name="connsiteY165" fmla="*/ 957623 h 4738686"/>
              <a:gd name="connsiteX166" fmla="*/ 11683359 w 12193196"/>
              <a:gd name="connsiteY166" fmla="*/ 1000923 h 4738686"/>
              <a:gd name="connsiteX167" fmla="*/ 11657796 w 12193196"/>
              <a:gd name="connsiteY167" fmla="*/ 1000923 h 4738686"/>
              <a:gd name="connsiteX168" fmla="*/ 11657796 w 12193196"/>
              <a:gd name="connsiteY168" fmla="*/ 1017808 h 4738686"/>
              <a:gd name="connsiteX169" fmla="*/ 11683359 w 12193196"/>
              <a:gd name="connsiteY169" fmla="*/ 1017808 h 4738686"/>
              <a:gd name="connsiteX170" fmla="*/ 11683359 w 12193196"/>
              <a:gd name="connsiteY170" fmla="*/ 1103263 h 4738686"/>
              <a:gd name="connsiteX171" fmla="*/ 11735758 w 12193196"/>
              <a:gd name="connsiteY171" fmla="*/ 1143007 h 4738686"/>
              <a:gd name="connsiteX172" fmla="*/ 11758089 w 12193196"/>
              <a:gd name="connsiteY172" fmla="*/ 1140676 h 4738686"/>
              <a:gd name="connsiteX173" fmla="*/ 11760439 w 12193196"/>
              <a:gd name="connsiteY173" fmla="*/ 1140343 h 4738686"/>
              <a:gd name="connsiteX174" fmla="*/ 11760439 w 12193196"/>
              <a:gd name="connsiteY174" fmla="*/ 1123145 h 4738686"/>
              <a:gd name="connsiteX175" fmla="*/ 11757109 w 12193196"/>
              <a:gd name="connsiteY175" fmla="*/ 1123879 h 4738686"/>
              <a:gd name="connsiteX176" fmla="*/ 11745650 w 12193196"/>
              <a:gd name="connsiteY176" fmla="*/ 1124976 h 4738686"/>
              <a:gd name="connsiteX177" fmla="*/ 11721458 w 12193196"/>
              <a:gd name="connsiteY177" fmla="*/ 1098689 h 4738686"/>
              <a:gd name="connsiteX178" fmla="*/ 11721458 w 12193196"/>
              <a:gd name="connsiteY178" fmla="*/ 1017808 h 4738686"/>
              <a:gd name="connsiteX179" fmla="*/ 11764357 w 12193196"/>
              <a:gd name="connsiteY179" fmla="*/ 1017808 h 4738686"/>
              <a:gd name="connsiteX180" fmla="*/ 11764357 w 12193196"/>
              <a:gd name="connsiteY180" fmla="*/ 1000923 h 4738686"/>
              <a:gd name="connsiteX181" fmla="*/ 11721458 w 12193196"/>
              <a:gd name="connsiteY181" fmla="*/ 1000923 h 4738686"/>
              <a:gd name="connsiteX182" fmla="*/ 11721458 w 12193196"/>
              <a:gd name="connsiteY182" fmla="*/ 957623 h 4738686"/>
              <a:gd name="connsiteX183" fmla="*/ 11073573 w 12193196"/>
              <a:gd name="connsiteY183" fmla="*/ 941062 h 4738686"/>
              <a:gd name="connsiteX184" fmla="*/ 11073573 w 12193196"/>
              <a:gd name="connsiteY184" fmla="*/ 952413 h 4738686"/>
              <a:gd name="connsiteX185" fmla="*/ 11081212 w 12193196"/>
              <a:gd name="connsiteY185" fmla="*/ 953686 h 4738686"/>
              <a:gd name="connsiteX186" fmla="*/ 11106384 w 12193196"/>
              <a:gd name="connsiteY186" fmla="*/ 980541 h 4738686"/>
              <a:gd name="connsiteX187" fmla="*/ 11106384 w 12193196"/>
              <a:gd name="connsiteY187" fmla="*/ 1139765 h 4738686"/>
              <a:gd name="connsiteX188" fmla="*/ 11147323 w 12193196"/>
              <a:gd name="connsiteY188" fmla="*/ 1139765 h 4738686"/>
              <a:gd name="connsiteX189" fmla="*/ 11147323 w 12193196"/>
              <a:gd name="connsiteY189" fmla="*/ 981708 h 4738686"/>
              <a:gd name="connsiteX190" fmla="*/ 11251827 w 12193196"/>
              <a:gd name="connsiteY190" fmla="*/ 1139765 h 4738686"/>
              <a:gd name="connsiteX191" fmla="*/ 11302267 w 12193196"/>
              <a:gd name="connsiteY191" fmla="*/ 1139765 h 4738686"/>
              <a:gd name="connsiteX192" fmla="*/ 11302267 w 12193196"/>
              <a:gd name="connsiteY192" fmla="*/ 941062 h 4738686"/>
              <a:gd name="connsiteX193" fmla="*/ 11299623 w 12193196"/>
              <a:gd name="connsiteY193" fmla="*/ 941062 h 4738686"/>
              <a:gd name="connsiteX194" fmla="*/ 11261328 w 12193196"/>
              <a:gd name="connsiteY194" fmla="*/ 941062 h 4738686"/>
              <a:gd name="connsiteX195" fmla="*/ 11261328 w 12193196"/>
              <a:gd name="connsiteY195" fmla="*/ 1091990 h 4738686"/>
              <a:gd name="connsiteX196" fmla="*/ 11161721 w 12193196"/>
              <a:gd name="connsiteY196" fmla="*/ 941062 h 4738686"/>
              <a:gd name="connsiteX197" fmla="*/ 10085829 w 12193196"/>
              <a:gd name="connsiteY197" fmla="*/ 939103 h 4738686"/>
              <a:gd name="connsiteX198" fmla="*/ 10062691 w 12193196"/>
              <a:gd name="connsiteY198" fmla="*/ 957273 h 4738686"/>
              <a:gd name="connsiteX199" fmla="*/ 10080861 w 12193196"/>
              <a:gd name="connsiteY199" fmla="*/ 980411 h 4738686"/>
              <a:gd name="connsiteX200" fmla="*/ 10085535 w 12193196"/>
              <a:gd name="connsiteY200" fmla="*/ 980444 h 4738686"/>
              <a:gd name="connsiteX201" fmla="*/ 10085535 w 12193196"/>
              <a:gd name="connsiteY201" fmla="*/ 980415 h 4738686"/>
              <a:gd name="connsiteX202" fmla="*/ 10109531 w 12193196"/>
              <a:gd name="connsiteY202" fmla="*/ 959583 h 4738686"/>
              <a:gd name="connsiteX203" fmla="*/ 10085829 w 12193196"/>
              <a:gd name="connsiteY203" fmla="*/ 939103 h 4738686"/>
              <a:gd name="connsiteX204" fmla="*/ 9480646 w 12193196"/>
              <a:gd name="connsiteY204" fmla="*/ 937655 h 4738686"/>
              <a:gd name="connsiteX205" fmla="*/ 9477708 w 12193196"/>
              <a:gd name="connsiteY205" fmla="*/ 937919 h 4738686"/>
              <a:gd name="connsiteX206" fmla="*/ 9402293 w 12193196"/>
              <a:gd name="connsiteY206" fmla="*/ 944775 h 4738686"/>
              <a:gd name="connsiteX207" fmla="*/ 9402293 w 12193196"/>
              <a:gd name="connsiteY207" fmla="*/ 955931 h 4738686"/>
              <a:gd name="connsiteX208" fmla="*/ 9404644 w 12193196"/>
              <a:gd name="connsiteY208" fmla="*/ 956225 h 4738686"/>
              <a:gd name="connsiteX209" fmla="*/ 9435006 w 12193196"/>
              <a:gd name="connsiteY209" fmla="*/ 981690 h 4738686"/>
              <a:gd name="connsiteX210" fmla="*/ 9435006 w 12193196"/>
              <a:gd name="connsiteY210" fmla="*/ 1139748 h 4738686"/>
              <a:gd name="connsiteX211" fmla="*/ 9480646 w 12193196"/>
              <a:gd name="connsiteY211" fmla="*/ 1139748 h 4738686"/>
              <a:gd name="connsiteX212" fmla="*/ 10710404 w 12193196"/>
              <a:gd name="connsiteY212" fmla="*/ 932962 h 4738686"/>
              <a:gd name="connsiteX213" fmla="*/ 10707368 w 12193196"/>
              <a:gd name="connsiteY213" fmla="*/ 933364 h 4738686"/>
              <a:gd name="connsiteX214" fmla="*/ 10646644 w 12193196"/>
              <a:gd name="connsiteY214" fmla="*/ 940827 h 4738686"/>
              <a:gd name="connsiteX215" fmla="*/ 10646644 w 12193196"/>
              <a:gd name="connsiteY215" fmla="*/ 951600 h 4738686"/>
              <a:gd name="connsiteX216" fmla="*/ 10649288 w 12193196"/>
              <a:gd name="connsiteY216" fmla="*/ 951688 h 4738686"/>
              <a:gd name="connsiteX217" fmla="*/ 10672207 w 12193196"/>
              <a:gd name="connsiteY217" fmla="*/ 975146 h 4738686"/>
              <a:gd name="connsiteX218" fmla="*/ 10672207 w 12193196"/>
              <a:gd name="connsiteY218" fmla="*/ 1139766 h 4738686"/>
              <a:gd name="connsiteX219" fmla="*/ 10710404 w 12193196"/>
              <a:gd name="connsiteY219" fmla="*/ 1139766 h 4738686"/>
              <a:gd name="connsiteX220" fmla="*/ 10710404 w 12193196"/>
              <a:gd name="connsiteY220" fmla="*/ 1068719 h 4738686"/>
              <a:gd name="connsiteX221" fmla="*/ 10746251 w 12193196"/>
              <a:gd name="connsiteY221" fmla="*/ 1022628 h 4738686"/>
              <a:gd name="connsiteX222" fmla="*/ 10767504 w 12193196"/>
              <a:gd name="connsiteY222" fmla="*/ 1052657 h 4738686"/>
              <a:gd name="connsiteX223" fmla="*/ 10767504 w 12193196"/>
              <a:gd name="connsiteY223" fmla="*/ 1139766 h 4738686"/>
              <a:gd name="connsiteX224" fmla="*/ 10805604 w 12193196"/>
              <a:gd name="connsiteY224" fmla="*/ 1139766 h 4738686"/>
              <a:gd name="connsiteX225" fmla="*/ 10805604 w 12193196"/>
              <a:gd name="connsiteY225" fmla="*/ 1048347 h 4738686"/>
              <a:gd name="connsiteX226" fmla="*/ 10762705 w 12193196"/>
              <a:gd name="connsiteY226" fmla="*/ 997682 h 4738686"/>
              <a:gd name="connsiteX227" fmla="*/ 10710404 w 12193196"/>
              <a:gd name="connsiteY227" fmla="*/ 1028093 h 4738686"/>
              <a:gd name="connsiteX228" fmla="*/ 11691292 w 12193196"/>
              <a:gd name="connsiteY228" fmla="*/ 901218 h 4738686"/>
              <a:gd name="connsiteX229" fmla="*/ 11642419 w 12193196"/>
              <a:gd name="connsiteY229" fmla="*/ 957691 h 4738686"/>
              <a:gd name="connsiteX230" fmla="*/ 11682771 w 12193196"/>
              <a:gd name="connsiteY230" fmla="*/ 957691 h 4738686"/>
              <a:gd name="connsiteX231" fmla="*/ 11731644 w 12193196"/>
              <a:gd name="connsiteY231" fmla="*/ 901218 h 4738686"/>
              <a:gd name="connsiteX232" fmla="*/ 10547331 w 12193196"/>
              <a:gd name="connsiteY232" fmla="*/ 583241 h 4738686"/>
              <a:gd name="connsiteX233" fmla="*/ 10606292 w 12193196"/>
              <a:gd name="connsiteY233" fmla="*/ 728608 h 4738686"/>
              <a:gd name="connsiteX234" fmla="*/ 10488370 w 12193196"/>
              <a:gd name="connsiteY234" fmla="*/ 728608 h 4738686"/>
              <a:gd name="connsiteX235" fmla="*/ 11138508 w 12193196"/>
              <a:gd name="connsiteY235" fmla="*/ 528864 h 4738686"/>
              <a:gd name="connsiteX236" fmla="*/ 11138508 w 12193196"/>
              <a:gd name="connsiteY236" fmla="*/ 848508 h 4738686"/>
              <a:gd name="connsiteX237" fmla="*/ 11223130 w 12193196"/>
              <a:gd name="connsiteY237" fmla="*/ 848508 h 4738686"/>
              <a:gd name="connsiteX238" fmla="*/ 11223130 w 12193196"/>
              <a:gd name="connsiteY238" fmla="*/ 707844 h 4738686"/>
              <a:gd name="connsiteX239" fmla="*/ 11394136 w 12193196"/>
              <a:gd name="connsiteY239" fmla="*/ 707844 h 4738686"/>
              <a:gd name="connsiteX240" fmla="*/ 11394136 w 12193196"/>
              <a:gd name="connsiteY240" fmla="*/ 848508 h 4738686"/>
              <a:gd name="connsiteX241" fmla="*/ 11478856 w 12193196"/>
              <a:gd name="connsiteY241" fmla="*/ 848508 h 4738686"/>
              <a:gd name="connsiteX242" fmla="*/ 11478856 w 12193196"/>
              <a:gd name="connsiteY242" fmla="*/ 528864 h 4738686"/>
              <a:gd name="connsiteX243" fmla="*/ 11394136 w 12193196"/>
              <a:gd name="connsiteY243" fmla="*/ 528864 h 4738686"/>
              <a:gd name="connsiteX244" fmla="*/ 11394136 w 12193196"/>
              <a:gd name="connsiteY244" fmla="*/ 656678 h 4738686"/>
              <a:gd name="connsiteX245" fmla="*/ 11223130 w 12193196"/>
              <a:gd name="connsiteY245" fmla="*/ 656678 h 4738686"/>
              <a:gd name="connsiteX246" fmla="*/ 11223130 w 12193196"/>
              <a:gd name="connsiteY246" fmla="*/ 528864 h 4738686"/>
              <a:gd name="connsiteX247" fmla="*/ 10075937 w 12193196"/>
              <a:gd name="connsiteY247" fmla="*/ 528864 h 4738686"/>
              <a:gd name="connsiteX248" fmla="*/ 10075937 w 12193196"/>
              <a:gd name="connsiteY248" fmla="*/ 583241 h 4738686"/>
              <a:gd name="connsiteX249" fmla="*/ 10205416 w 12193196"/>
              <a:gd name="connsiteY249" fmla="*/ 583241 h 4738686"/>
              <a:gd name="connsiteX250" fmla="*/ 10205416 w 12193196"/>
              <a:gd name="connsiteY250" fmla="*/ 848508 h 4738686"/>
              <a:gd name="connsiteX251" fmla="*/ 10290038 w 12193196"/>
              <a:gd name="connsiteY251" fmla="*/ 848508 h 4738686"/>
              <a:gd name="connsiteX252" fmla="*/ 10290038 w 12193196"/>
              <a:gd name="connsiteY252" fmla="*/ 583241 h 4738686"/>
              <a:gd name="connsiteX253" fmla="*/ 10419517 w 12193196"/>
              <a:gd name="connsiteY253" fmla="*/ 583241 h 4738686"/>
              <a:gd name="connsiteX254" fmla="*/ 10419517 w 12193196"/>
              <a:gd name="connsiteY254" fmla="*/ 528864 h 4738686"/>
              <a:gd name="connsiteX255" fmla="*/ 10075937 w 12193196"/>
              <a:gd name="connsiteY255" fmla="*/ 528864 h 4738686"/>
              <a:gd name="connsiteX256" fmla="*/ 10495421 w 12193196"/>
              <a:gd name="connsiteY256" fmla="*/ 528864 h 4738686"/>
              <a:gd name="connsiteX257" fmla="*/ 10346060 w 12193196"/>
              <a:gd name="connsiteY257" fmla="*/ 848508 h 4738686"/>
              <a:gd name="connsiteX258" fmla="*/ 10440280 w 12193196"/>
              <a:gd name="connsiteY258" fmla="*/ 848508 h 4738686"/>
              <a:gd name="connsiteX259" fmla="*/ 10467998 w 12193196"/>
              <a:gd name="connsiteY259" fmla="*/ 779773 h 4738686"/>
              <a:gd name="connsiteX260" fmla="*/ 10626663 w 12193196"/>
              <a:gd name="connsiteY260" fmla="*/ 779773 h 4738686"/>
              <a:gd name="connsiteX261" fmla="*/ 10654381 w 12193196"/>
              <a:gd name="connsiteY261" fmla="*/ 848508 h 4738686"/>
              <a:gd name="connsiteX262" fmla="*/ 10748699 w 12193196"/>
              <a:gd name="connsiteY262" fmla="*/ 848508 h 4738686"/>
              <a:gd name="connsiteX263" fmla="*/ 10599240 w 12193196"/>
              <a:gd name="connsiteY263" fmla="*/ 528864 h 4738686"/>
              <a:gd name="connsiteX264" fmla="*/ 10495421 w 12193196"/>
              <a:gd name="connsiteY264" fmla="*/ 528864 h 4738686"/>
              <a:gd name="connsiteX265" fmla="*/ 11545848 w 12193196"/>
              <a:gd name="connsiteY265" fmla="*/ 528864 h 4738686"/>
              <a:gd name="connsiteX266" fmla="*/ 11545848 w 12193196"/>
              <a:gd name="connsiteY266" fmla="*/ 848508 h 4738686"/>
              <a:gd name="connsiteX267" fmla="*/ 11630666 w 12193196"/>
              <a:gd name="connsiteY267" fmla="*/ 848508 h 4738686"/>
              <a:gd name="connsiteX268" fmla="*/ 11630666 w 12193196"/>
              <a:gd name="connsiteY268" fmla="*/ 528864 h 4738686"/>
              <a:gd name="connsiteX269" fmla="*/ 9553515 w 12193196"/>
              <a:gd name="connsiteY269" fmla="*/ 528864 h 4738686"/>
              <a:gd name="connsiteX270" fmla="*/ 9553515 w 12193196"/>
              <a:gd name="connsiteY270" fmla="*/ 848508 h 4738686"/>
              <a:gd name="connsiteX271" fmla="*/ 9638235 w 12193196"/>
              <a:gd name="connsiteY271" fmla="*/ 848508 h 4738686"/>
              <a:gd name="connsiteX272" fmla="*/ 9638235 w 12193196"/>
              <a:gd name="connsiteY272" fmla="*/ 707844 h 4738686"/>
              <a:gd name="connsiteX273" fmla="*/ 9809143 w 12193196"/>
              <a:gd name="connsiteY273" fmla="*/ 707844 h 4738686"/>
              <a:gd name="connsiteX274" fmla="*/ 9809143 w 12193196"/>
              <a:gd name="connsiteY274" fmla="*/ 848508 h 4738686"/>
              <a:gd name="connsiteX275" fmla="*/ 9893863 w 12193196"/>
              <a:gd name="connsiteY275" fmla="*/ 848508 h 4738686"/>
              <a:gd name="connsiteX276" fmla="*/ 9893863 w 12193196"/>
              <a:gd name="connsiteY276" fmla="*/ 528864 h 4738686"/>
              <a:gd name="connsiteX277" fmla="*/ 9809143 w 12193196"/>
              <a:gd name="connsiteY277" fmla="*/ 528864 h 4738686"/>
              <a:gd name="connsiteX278" fmla="*/ 9809143 w 12193196"/>
              <a:gd name="connsiteY278" fmla="*/ 656678 h 4738686"/>
              <a:gd name="connsiteX279" fmla="*/ 9638235 w 12193196"/>
              <a:gd name="connsiteY279" fmla="*/ 656678 h 4738686"/>
              <a:gd name="connsiteX280" fmla="*/ 9638235 w 12193196"/>
              <a:gd name="connsiteY280" fmla="*/ 528864 h 4738686"/>
              <a:gd name="connsiteX281" fmla="*/ 9960953 w 12193196"/>
              <a:gd name="connsiteY281" fmla="*/ 528864 h 4738686"/>
              <a:gd name="connsiteX282" fmla="*/ 9960953 w 12193196"/>
              <a:gd name="connsiteY282" fmla="*/ 848508 h 4738686"/>
              <a:gd name="connsiteX283" fmla="*/ 10045673 w 12193196"/>
              <a:gd name="connsiteY283" fmla="*/ 848508 h 4738686"/>
              <a:gd name="connsiteX284" fmla="*/ 10045673 w 12193196"/>
              <a:gd name="connsiteY284" fmla="*/ 528864 h 4738686"/>
              <a:gd name="connsiteX285" fmla="*/ 10929795 w 12193196"/>
              <a:gd name="connsiteY285" fmla="*/ 520972 h 4738686"/>
              <a:gd name="connsiteX286" fmla="*/ 10828914 w 12193196"/>
              <a:gd name="connsiteY286" fmla="*/ 537904 h 4738686"/>
              <a:gd name="connsiteX287" fmla="*/ 10756241 w 12193196"/>
              <a:gd name="connsiteY287" fmla="*/ 598756 h 4738686"/>
              <a:gd name="connsiteX288" fmla="*/ 10734302 w 12193196"/>
              <a:gd name="connsiteY288" fmla="*/ 691800 h 4738686"/>
              <a:gd name="connsiteX289" fmla="*/ 10745663 w 12193196"/>
              <a:gd name="connsiteY289" fmla="*/ 759871 h 4738686"/>
              <a:gd name="connsiteX290" fmla="*/ 10745663 w 12193196"/>
              <a:gd name="connsiteY290" fmla="*/ 759880 h 4738686"/>
              <a:gd name="connsiteX291" fmla="*/ 10836847 w 12193196"/>
              <a:gd name="connsiteY291" fmla="*/ 843130 h 4738686"/>
              <a:gd name="connsiteX292" fmla="*/ 10922840 w 12193196"/>
              <a:gd name="connsiteY292" fmla="*/ 856372 h 4738686"/>
              <a:gd name="connsiteX293" fmla="*/ 11031654 w 12193196"/>
              <a:gd name="connsiteY293" fmla="*/ 834140 h 4738686"/>
              <a:gd name="connsiteX294" fmla="*/ 11090810 w 12193196"/>
              <a:gd name="connsiteY294" fmla="*/ 763621 h 4738686"/>
              <a:gd name="connsiteX295" fmla="*/ 11095120 w 12193196"/>
              <a:gd name="connsiteY295" fmla="*/ 733318 h 4738686"/>
              <a:gd name="connsiteX296" fmla="*/ 11005895 w 12193196"/>
              <a:gd name="connsiteY296" fmla="*/ 733318 h 4738686"/>
              <a:gd name="connsiteX297" fmla="*/ 10998941 w 12193196"/>
              <a:gd name="connsiteY297" fmla="*/ 767598 h 4738686"/>
              <a:gd name="connsiteX298" fmla="*/ 10961919 w 12193196"/>
              <a:gd name="connsiteY298" fmla="*/ 800790 h 4738686"/>
              <a:gd name="connsiteX299" fmla="*/ 10922840 w 12193196"/>
              <a:gd name="connsiteY299" fmla="*/ 806873 h 4738686"/>
              <a:gd name="connsiteX300" fmla="*/ 10877395 w 12193196"/>
              <a:gd name="connsiteY300" fmla="*/ 798460 h 4738686"/>
              <a:gd name="connsiteX301" fmla="*/ 10831167 w 12193196"/>
              <a:gd name="connsiteY301" fmla="*/ 748009 h 4738686"/>
              <a:gd name="connsiteX302" fmla="*/ 10823037 w 12193196"/>
              <a:gd name="connsiteY302" fmla="*/ 691820 h 4738686"/>
              <a:gd name="connsiteX303" fmla="*/ 10834595 w 12193196"/>
              <a:gd name="connsiteY303" fmla="*/ 624553 h 4738686"/>
              <a:gd name="connsiteX304" fmla="*/ 10880921 w 12193196"/>
              <a:gd name="connsiteY304" fmla="*/ 577649 h 4738686"/>
              <a:gd name="connsiteX305" fmla="*/ 10922840 w 12193196"/>
              <a:gd name="connsiteY305" fmla="*/ 570431 h 4738686"/>
              <a:gd name="connsiteX306" fmla="*/ 10959862 w 12193196"/>
              <a:gd name="connsiteY306" fmla="*/ 575964 h 4738686"/>
              <a:gd name="connsiteX307" fmla="*/ 10999627 w 12193196"/>
              <a:gd name="connsiteY307" fmla="*/ 612928 h 4738686"/>
              <a:gd name="connsiteX308" fmla="*/ 11004230 w 12193196"/>
              <a:gd name="connsiteY308" fmla="*/ 637521 h 4738686"/>
              <a:gd name="connsiteX309" fmla="*/ 11093063 w 12193196"/>
              <a:gd name="connsiteY309" fmla="*/ 637521 h 4738686"/>
              <a:gd name="connsiteX310" fmla="*/ 11090027 w 12193196"/>
              <a:gd name="connsiteY310" fmla="*/ 617276 h 4738686"/>
              <a:gd name="connsiteX311" fmla="*/ 11029597 w 12193196"/>
              <a:gd name="connsiteY311" fmla="*/ 543409 h 4738686"/>
              <a:gd name="connsiteX312" fmla="*/ 10929795 w 12193196"/>
              <a:gd name="connsiteY312" fmla="*/ 520972 h 4738686"/>
              <a:gd name="connsiteX313" fmla="*/ 0 w 12193196"/>
              <a:gd name="connsiteY313" fmla="*/ 0 h 4738686"/>
              <a:gd name="connsiteX314" fmla="*/ 12193196 w 12193196"/>
              <a:gd name="connsiteY314" fmla="*/ 0 h 4738686"/>
              <a:gd name="connsiteX315" fmla="*/ 12193196 w 12193196"/>
              <a:gd name="connsiteY315" fmla="*/ 4738686 h 4738686"/>
              <a:gd name="connsiteX316" fmla="*/ 0 w 12193196"/>
              <a:gd name="connsiteY316" fmla="*/ 4738686 h 4738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</a:cxnLst>
            <a:rect l="l" t="t" r="r" b="b"/>
            <a:pathLst>
              <a:path w="12193196" h="4738686">
                <a:moveTo>
                  <a:pt x="9943716" y="1018573"/>
                </a:moveTo>
                <a:lnTo>
                  <a:pt x="9943716" y="1018583"/>
                </a:lnTo>
                <a:cubicBezTo>
                  <a:pt x="9969768" y="1018583"/>
                  <a:pt x="9972804" y="1046888"/>
                  <a:pt x="9972804" y="1068171"/>
                </a:cubicBezTo>
                <a:cubicBezTo>
                  <a:pt x="9972804" y="1104410"/>
                  <a:pt x="9963402" y="1122040"/>
                  <a:pt x="9944107" y="1122040"/>
                </a:cubicBezTo>
                <a:cubicBezTo>
                  <a:pt x="9919230" y="1122040"/>
                  <a:pt x="9914039" y="1098847"/>
                  <a:pt x="9914039" y="1079406"/>
                </a:cubicBezTo>
                <a:lnTo>
                  <a:pt x="9914039" y="1067545"/>
                </a:lnTo>
                <a:cubicBezTo>
                  <a:pt x="9914039" y="1052854"/>
                  <a:pt x="9916977" y="1018573"/>
                  <a:pt x="9943716" y="1018573"/>
                </a:cubicBezTo>
                <a:close/>
                <a:moveTo>
                  <a:pt x="11408435" y="1012941"/>
                </a:moveTo>
                <a:cubicBezTo>
                  <a:pt x="11428807" y="1012941"/>
                  <a:pt x="11434096" y="1027633"/>
                  <a:pt x="11434684" y="1041128"/>
                </a:cubicBezTo>
                <a:lnTo>
                  <a:pt x="11379836" y="1041128"/>
                </a:lnTo>
                <a:cubicBezTo>
                  <a:pt x="11380159" y="1025534"/>
                  <a:pt x="11392843" y="1013033"/>
                  <a:pt x="11408435" y="1012941"/>
                </a:cubicBezTo>
                <a:close/>
                <a:moveTo>
                  <a:pt x="10350271" y="1012834"/>
                </a:moveTo>
                <a:cubicBezTo>
                  <a:pt x="10370741" y="1012834"/>
                  <a:pt x="10376030" y="1027584"/>
                  <a:pt x="10376618" y="1041021"/>
                </a:cubicBezTo>
                <a:lnTo>
                  <a:pt x="10321770" y="1041021"/>
                </a:lnTo>
                <a:cubicBezTo>
                  <a:pt x="10322093" y="1025467"/>
                  <a:pt x="10334714" y="1012983"/>
                  <a:pt x="10350271" y="1012834"/>
                </a:cubicBezTo>
                <a:close/>
                <a:moveTo>
                  <a:pt x="10912556" y="1012833"/>
                </a:moveTo>
                <a:cubicBezTo>
                  <a:pt x="10933026" y="1012833"/>
                  <a:pt x="10938217" y="1027584"/>
                  <a:pt x="10938805" y="1041021"/>
                </a:cubicBezTo>
                <a:lnTo>
                  <a:pt x="10883957" y="1041021"/>
                </a:lnTo>
                <a:cubicBezTo>
                  <a:pt x="10884290" y="1025434"/>
                  <a:pt x="10896964" y="1012941"/>
                  <a:pt x="10912556" y="1012833"/>
                </a:cubicBezTo>
                <a:close/>
                <a:moveTo>
                  <a:pt x="11605397" y="1000835"/>
                </a:moveTo>
                <a:lnTo>
                  <a:pt x="11568179" y="1043841"/>
                </a:lnTo>
                <a:lnTo>
                  <a:pt x="11535270" y="1000923"/>
                </a:lnTo>
                <a:lnTo>
                  <a:pt x="11476897" y="1000923"/>
                </a:lnTo>
                <a:lnTo>
                  <a:pt x="11476897" y="1011922"/>
                </a:lnTo>
                <a:lnTo>
                  <a:pt x="11479443" y="1012079"/>
                </a:lnTo>
                <a:cubicBezTo>
                  <a:pt x="11499326" y="1013430"/>
                  <a:pt x="11503831" y="1016976"/>
                  <a:pt x="11516074" y="1033136"/>
                </a:cubicBezTo>
                <a:lnTo>
                  <a:pt x="11539971" y="1064899"/>
                </a:lnTo>
                <a:lnTo>
                  <a:pt x="11500893" y="1110021"/>
                </a:lnTo>
                <a:lnTo>
                  <a:pt x="11541245" y="1110021"/>
                </a:lnTo>
                <a:lnTo>
                  <a:pt x="11558776" y="1089874"/>
                </a:lnTo>
                <a:lnTo>
                  <a:pt x="11596386" y="1139824"/>
                </a:lnTo>
                <a:lnTo>
                  <a:pt x="11641635" y="1139824"/>
                </a:lnTo>
                <a:lnTo>
                  <a:pt x="11569942" y="1046192"/>
                </a:lnTo>
                <a:lnTo>
                  <a:pt x="11606474" y="1046221"/>
                </a:lnTo>
                <a:lnTo>
                  <a:pt x="11645651" y="1000835"/>
                </a:lnTo>
                <a:close/>
                <a:moveTo>
                  <a:pt x="11409709" y="997750"/>
                </a:moveTo>
                <a:cubicBezTo>
                  <a:pt x="11362305" y="997750"/>
                  <a:pt x="11338211" y="1020600"/>
                  <a:pt x="11338211" y="1065684"/>
                </a:cubicBezTo>
                <a:cubicBezTo>
                  <a:pt x="11338211" y="1114066"/>
                  <a:pt x="11369259" y="1143008"/>
                  <a:pt x="11421168" y="1143008"/>
                </a:cubicBezTo>
                <a:cubicBezTo>
                  <a:pt x="11437024" y="1142934"/>
                  <a:pt x="11452764" y="1140308"/>
                  <a:pt x="11467788" y="1135231"/>
                </a:cubicBezTo>
                <a:lnTo>
                  <a:pt x="11470041" y="1134527"/>
                </a:lnTo>
                <a:lnTo>
                  <a:pt x="11470041" y="1116084"/>
                </a:lnTo>
                <a:lnTo>
                  <a:pt x="11466417" y="1117376"/>
                </a:lnTo>
                <a:cubicBezTo>
                  <a:pt x="11456779" y="1120531"/>
                  <a:pt x="11446691" y="1122122"/>
                  <a:pt x="11436545" y="1122088"/>
                </a:cubicBezTo>
                <a:cubicBezTo>
                  <a:pt x="11395801" y="1122088"/>
                  <a:pt x="11380620" y="1088181"/>
                  <a:pt x="11379738" y="1058034"/>
                </a:cubicBezTo>
                <a:lnTo>
                  <a:pt x="11472979" y="1058034"/>
                </a:lnTo>
                <a:lnTo>
                  <a:pt x="11472979" y="1055330"/>
                </a:lnTo>
                <a:cubicBezTo>
                  <a:pt x="11472979" y="1017133"/>
                  <a:pt x="11451726" y="997750"/>
                  <a:pt x="11409709" y="997750"/>
                </a:cubicBezTo>
                <a:close/>
                <a:moveTo>
                  <a:pt x="9781426" y="997723"/>
                </a:moveTo>
                <a:cubicBezTo>
                  <a:pt x="9745481" y="997723"/>
                  <a:pt x="9724032" y="1013119"/>
                  <a:pt x="9724032" y="1038926"/>
                </a:cubicBezTo>
                <a:cubicBezTo>
                  <a:pt x="9724032" y="1062100"/>
                  <a:pt x="9746265" y="1073031"/>
                  <a:pt x="9765951" y="1082648"/>
                </a:cubicBezTo>
                <a:cubicBezTo>
                  <a:pt x="9781230" y="1090161"/>
                  <a:pt x="9795725" y="1097203"/>
                  <a:pt x="9795725" y="1108378"/>
                </a:cubicBezTo>
                <a:cubicBezTo>
                  <a:pt x="9795725" y="1118877"/>
                  <a:pt x="9786421" y="1124901"/>
                  <a:pt x="9770261" y="1124901"/>
                </a:cubicBezTo>
                <a:cubicBezTo>
                  <a:pt x="9755255" y="1123971"/>
                  <a:pt x="9740791" y="1118948"/>
                  <a:pt x="9728439" y="1110376"/>
                </a:cubicBezTo>
                <a:lnTo>
                  <a:pt x="9724326" y="1107888"/>
                </a:lnTo>
                <a:lnTo>
                  <a:pt x="9724326" y="1137271"/>
                </a:lnTo>
                <a:lnTo>
                  <a:pt x="9727166" y="1137888"/>
                </a:lnTo>
                <a:cubicBezTo>
                  <a:pt x="9740855" y="1141241"/>
                  <a:pt x="9754894" y="1142947"/>
                  <a:pt x="9768987" y="1142971"/>
                </a:cubicBezTo>
                <a:cubicBezTo>
                  <a:pt x="9807576" y="1142971"/>
                  <a:pt x="9830593" y="1127134"/>
                  <a:pt x="9830593" y="1100631"/>
                </a:cubicBezTo>
                <a:cubicBezTo>
                  <a:pt x="9830593" y="1074372"/>
                  <a:pt x="9807381" y="1062982"/>
                  <a:pt x="9786911" y="1052913"/>
                </a:cubicBezTo>
                <a:lnTo>
                  <a:pt x="9786911" y="1052884"/>
                </a:lnTo>
                <a:cubicBezTo>
                  <a:pt x="9771828" y="1045527"/>
                  <a:pt x="9758899" y="1039172"/>
                  <a:pt x="9758899" y="1028779"/>
                </a:cubicBezTo>
                <a:cubicBezTo>
                  <a:pt x="9758899" y="1017026"/>
                  <a:pt x="9773003" y="1015714"/>
                  <a:pt x="9779075" y="1015714"/>
                </a:cubicBezTo>
                <a:cubicBezTo>
                  <a:pt x="9791882" y="1016511"/>
                  <a:pt x="9804235" y="1020760"/>
                  <a:pt x="9814824" y="1028006"/>
                </a:cubicBezTo>
                <a:lnTo>
                  <a:pt x="9820799" y="1031649"/>
                </a:lnTo>
                <a:lnTo>
                  <a:pt x="9820799" y="1003079"/>
                </a:lnTo>
                <a:lnTo>
                  <a:pt x="9816097" y="1002101"/>
                </a:lnTo>
                <a:cubicBezTo>
                  <a:pt x="9804739" y="999359"/>
                  <a:pt x="9793109" y="997890"/>
                  <a:pt x="9781426" y="997723"/>
                </a:cubicBezTo>
                <a:close/>
                <a:moveTo>
                  <a:pt x="10913830" y="997682"/>
                </a:moveTo>
                <a:cubicBezTo>
                  <a:pt x="10866426" y="997682"/>
                  <a:pt x="10842430" y="1020493"/>
                  <a:pt x="10842430" y="1065566"/>
                </a:cubicBezTo>
                <a:cubicBezTo>
                  <a:pt x="10842430" y="1114017"/>
                  <a:pt x="10873380" y="1142940"/>
                  <a:pt x="10925289" y="1142940"/>
                </a:cubicBezTo>
                <a:cubicBezTo>
                  <a:pt x="10941146" y="1142830"/>
                  <a:pt x="10956885" y="1140185"/>
                  <a:pt x="10971909" y="1135104"/>
                </a:cubicBezTo>
                <a:lnTo>
                  <a:pt x="10974162" y="1134399"/>
                </a:lnTo>
                <a:lnTo>
                  <a:pt x="10974162" y="1115976"/>
                </a:lnTo>
                <a:lnTo>
                  <a:pt x="10970538" y="1117289"/>
                </a:lnTo>
                <a:cubicBezTo>
                  <a:pt x="10960910" y="1120484"/>
                  <a:pt x="10950813" y="1122075"/>
                  <a:pt x="10940666" y="1122000"/>
                </a:cubicBezTo>
                <a:cubicBezTo>
                  <a:pt x="10899922" y="1122000"/>
                  <a:pt x="10884741" y="1088122"/>
                  <a:pt x="10883957" y="1057926"/>
                </a:cubicBezTo>
                <a:lnTo>
                  <a:pt x="10977100" y="1057926"/>
                </a:lnTo>
                <a:lnTo>
                  <a:pt x="10977100" y="1055242"/>
                </a:lnTo>
                <a:cubicBezTo>
                  <a:pt x="10977100" y="1017044"/>
                  <a:pt x="10955847" y="997682"/>
                  <a:pt x="10913830" y="997682"/>
                </a:cubicBezTo>
                <a:close/>
                <a:moveTo>
                  <a:pt x="10351643" y="997682"/>
                </a:moveTo>
                <a:cubicBezTo>
                  <a:pt x="10304239" y="997682"/>
                  <a:pt x="10280145" y="1020493"/>
                  <a:pt x="10280145" y="1065566"/>
                </a:cubicBezTo>
                <a:cubicBezTo>
                  <a:pt x="10280145" y="1114017"/>
                  <a:pt x="10311193" y="1142940"/>
                  <a:pt x="10363102" y="1142940"/>
                </a:cubicBezTo>
                <a:cubicBezTo>
                  <a:pt x="10378961" y="1142830"/>
                  <a:pt x="10394698" y="1140185"/>
                  <a:pt x="10409722" y="1135104"/>
                </a:cubicBezTo>
                <a:lnTo>
                  <a:pt x="10411975" y="1134399"/>
                </a:lnTo>
                <a:lnTo>
                  <a:pt x="10411975" y="1115976"/>
                </a:lnTo>
                <a:lnTo>
                  <a:pt x="10408351" y="1117289"/>
                </a:lnTo>
                <a:cubicBezTo>
                  <a:pt x="10398713" y="1120466"/>
                  <a:pt x="10388625" y="1122057"/>
                  <a:pt x="10378479" y="1122000"/>
                </a:cubicBezTo>
                <a:cubicBezTo>
                  <a:pt x="10337735" y="1122000"/>
                  <a:pt x="10322554" y="1088122"/>
                  <a:pt x="10321672" y="1057926"/>
                </a:cubicBezTo>
                <a:lnTo>
                  <a:pt x="10414913" y="1057926"/>
                </a:lnTo>
                <a:lnTo>
                  <a:pt x="10414913" y="1055242"/>
                </a:lnTo>
                <a:cubicBezTo>
                  <a:pt x="10414913" y="1017045"/>
                  <a:pt x="10393660" y="997682"/>
                  <a:pt x="10351643" y="997682"/>
                </a:cubicBezTo>
                <a:close/>
                <a:moveTo>
                  <a:pt x="10104241" y="997212"/>
                </a:moveTo>
                <a:lnTo>
                  <a:pt x="10101107" y="997702"/>
                </a:lnTo>
                <a:lnTo>
                  <a:pt x="10040873" y="1007280"/>
                </a:lnTo>
                <a:lnTo>
                  <a:pt x="10040873" y="1017937"/>
                </a:lnTo>
                <a:lnTo>
                  <a:pt x="10043517" y="1018005"/>
                </a:lnTo>
                <a:cubicBezTo>
                  <a:pt x="10062322" y="1018563"/>
                  <a:pt x="10066142" y="1022432"/>
                  <a:pt x="10066142" y="1040865"/>
                </a:cubicBezTo>
                <a:lnTo>
                  <a:pt x="10066142" y="1139787"/>
                </a:lnTo>
                <a:lnTo>
                  <a:pt x="10104241" y="1139787"/>
                </a:lnTo>
                <a:close/>
                <a:moveTo>
                  <a:pt x="9914333" y="997212"/>
                </a:moveTo>
                <a:lnTo>
                  <a:pt x="9911199" y="997703"/>
                </a:lnTo>
                <a:lnTo>
                  <a:pt x="9850377" y="1007280"/>
                </a:lnTo>
                <a:lnTo>
                  <a:pt x="9850377" y="1017937"/>
                </a:lnTo>
                <a:lnTo>
                  <a:pt x="9853021" y="1018005"/>
                </a:lnTo>
                <a:cubicBezTo>
                  <a:pt x="9872022" y="1018563"/>
                  <a:pt x="9875940" y="1022433"/>
                  <a:pt x="9875940" y="1040865"/>
                </a:cubicBezTo>
                <a:lnTo>
                  <a:pt x="9875940" y="1198327"/>
                </a:lnTo>
                <a:lnTo>
                  <a:pt x="9914039" y="1198327"/>
                </a:lnTo>
                <a:lnTo>
                  <a:pt x="9914039" y="1126594"/>
                </a:lnTo>
                <a:cubicBezTo>
                  <a:pt x="9923719" y="1138012"/>
                  <a:pt x="9938291" y="1144094"/>
                  <a:pt x="9953216" y="1142940"/>
                </a:cubicBezTo>
                <a:cubicBezTo>
                  <a:pt x="9993176" y="1142940"/>
                  <a:pt x="10014234" y="1117064"/>
                  <a:pt x="10014234" y="1068171"/>
                </a:cubicBezTo>
                <a:cubicBezTo>
                  <a:pt x="10014234" y="1023334"/>
                  <a:pt x="9992491" y="997654"/>
                  <a:pt x="9954587" y="997654"/>
                </a:cubicBezTo>
                <a:lnTo>
                  <a:pt x="9954587" y="997682"/>
                </a:lnTo>
                <a:cubicBezTo>
                  <a:pt x="9939027" y="998380"/>
                  <a:pt x="9924452" y="1005498"/>
                  <a:pt x="9914333" y="1017339"/>
                </a:cubicBezTo>
                <a:close/>
                <a:moveTo>
                  <a:pt x="9585052" y="997212"/>
                </a:moveTo>
                <a:lnTo>
                  <a:pt x="9581918" y="997703"/>
                </a:lnTo>
                <a:lnTo>
                  <a:pt x="9520704" y="1007280"/>
                </a:lnTo>
                <a:lnTo>
                  <a:pt x="9520704" y="1017986"/>
                </a:lnTo>
                <a:lnTo>
                  <a:pt x="9523348" y="1017986"/>
                </a:lnTo>
                <a:cubicBezTo>
                  <a:pt x="9542741" y="1018545"/>
                  <a:pt x="9546952" y="1022609"/>
                  <a:pt x="9546952" y="1040846"/>
                </a:cubicBezTo>
                <a:lnTo>
                  <a:pt x="9546952" y="1139767"/>
                </a:lnTo>
                <a:lnTo>
                  <a:pt x="9585052" y="1139767"/>
                </a:lnTo>
                <a:lnTo>
                  <a:pt x="9585052" y="1066967"/>
                </a:lnTo>
                <a:cubicBezTo>
                  <a:pt x="9585052" y="1047623"/>
                  <a:pt x="9603269" y="1022628"/>
                  <a:pt x="9622661" y="1022628"/>
                </a:cubicBezTo>
                <a:cubicBezTo>
                  <a:pt x="9640879" y="1022628"/>
                  <a:pt x="9641858" y="1037849"/>
                  <a:pt x="9641858" y="1062687"/>
                </a:cubicBezTo>
                <a:lnTo>
                  <a:pt x="9641858" y="1139767"/>
                </a:lnTo>
                <a:lnTo>
                  <a:pt x="9680055" y="1139767"/>
                </a:lnTo>
                <a:lnTo>
                  <a:pt x="9680055" y="1040866"/>
                </a:lnTo>
                <a:cubicBezTo>
                  <a:pt x="9680055" y="1013011"/>
                  <a:pt x="9664972" y="997682"/>
                  <a:pt x="9637647" y="997682"/>
                </a:cubicBezTo>
                <a:cubicBezTo>
                  <a:pt x="9616043" y="998193"/>
                  <a:pt x="9596200" y="1009718"/>
                  <a:pt x="9585052" y="1028230"/>
                </a:cubicBezTo>
                <a:close/>
                <a:moveTo>
                  <a:pt x="10204730" y="997212"/>
                </a:moveTo>
                <a:lnTo>
                  <a:pt x="10201596" y="997702"/>
                </a:lnTo>
                <a:lnTo>
                  <a:pt x="10140774" y="1007280"/>
                </a:lnTo>
                <a:lnTo>
                  <a:pt x="10140774" y="1017985"/>
                </a:lnTo>
                <a:lnTo>
                  <a:pt x="10143418" y="1017985"/>
                </a:lnTo>
                <a:cubicBezTo>
                  <a:pt x="10162713" y="1018544"/>
                  <a:pt x="10166631" y="1022412"/>
                  <a:pt x="10166631" y="1040845"/>
                </a:cubicBezTo>
                <a:lnTo>
                  <a:pt x="10166631" y="1139766"/>
                </a:lnTo>
                <a:lnTo>
                  <a:pt x="10204730" y="1139766"/>
                </a:lnTo>
                <a:lnTo>
                  <a:pt x="10204730" y="1068455"/>
                </a:lnTo>
                <a:cubicBezTo>
                  <a:pt x="10202786" y="1048275"/>
                  <a:pt x="10217569" y="1030340"/>
                  <a:pt x="10237749" y="1028396"/>
                </a:cubicBezTo>
                <a:cubicBezTo>
                  <a:pt x="10240025" y="1028176"/>
                  <a:pt x="10242316" y="1028170"/>
                  <a:pt x="10244592" y="1028377"/>
                </a:cubicBezTo>
                <a:cubicBezTo>
                  <a:pt x="10249094" y="1028635"/>
                  <a:pt x="10253541" y="1029494"/>
                  <a:pt x="10257815" y="1030933"/>
                </a:cubicBezTo>
                <a:lnTo>
                  <a:pt x="10263985" y="1032667"/>
                </a:lnTo>
                <a:lnTo>
                  <a:pt x="10263985" y="1029112"/>
                </a:lnTo>
                <a:lnTo>
                  <a:pt x="10263985" y="999484"/>
                </a:lnTo>
                <a:lnTo>
                  <a:pt x="10261732" y="999141"/>
                </a:lnTo>
                <a:cubicBezTo>
                  <a:pt x="10255737" y="998203"/>
                  <a:pt x="10249680" y="997715"/>
                  <a:pt x="10243613" y="997682"/>
                </a:cubicBezTo>
                <a:cubicBezTo>
                  <a:pt x="10226159" y="998411"/>
                  <a:pt x="10210840" y="1009523"/>
                  <a:pt x="10204730" y="1025889"/>
                </a:cubicBezTo>
                <a:close/>
                <a:moveTo>
                  <a:pt x="10548800" y="957712"/>
                </a:moveTo>
                <a:lnTo>
                  <a:pt x="10548800" y="1000943"/>
                </a:lnTo>
                <a:lnTo>
                  <a:pt x="10523237" y="1000943"/>
                </a:lnTo>
                <a:lnTo>
                  <a:pt x="10523237" y="1017828"/>
                </a:lnTo>
                <a:lnTo>
                  <a:pt x="10548800" y="1017828"/>
                </a:lnTo>
                <a:lnTo>
                  <a:pt x="10548800" y="1103283"/>
                </a:lnTo>
                <a:cubicBezTo>
                  <a:pt x="10548800" y="1140080"/>
                  <a:pt x="10572502" y="1143028"/>
                  <a:pt x="10601199" y="1143028"/>
                </a:cubicBezTo>
                <a:cubicBezTo>
                  <a:pt x="10608721" y="1142852"/>
                  <a:pt x="10616223" y="1142072"/>
                  <a:pt x="10623627" y="1140697"/>
                </a:cubicBezTo>
                <a:lnTo>
                  <a:pt x="10625880" y="1140364"/>
                </a:lnTo>
                <a:lnTo>
                  <a:pt x="10625880" y="1123146"/>
                </a:lnTo>
                <a:lnTo>
                  <a:pt x="10622648" y="1123880"/>
                </a:lnTo>
                <a:cubicBezTo>
                  <a:pt x="10618848" y="1124646"/>
                  <a:pt x="10614969" y="1125014"/>
                  <a:pt x="10611091" y="1124977"/>
                </a:cubicBezTo>
                <a:cubicBezTo>
                  <a:pt x="10588173" y="1124977"/>
                  <a:pt x="10586899" y="1118219"/>
                  <a:pt x="10586899" y="1098690"/>
                </a:cubicBezTo>
                <a:lnTo>
                  <a:pt x="10586899" y="1017809"/>
                </a:lnTo>
                <a:lnTo>
                  <a:pt x="10629798" y="1017809"/>
                </a:lnTo>
                <a:lnTo>
                  <a:pt x="10629798" y="1000923"/>
                </a:lnTo>
                <a:lnTo>
                  <a:pt x="10586899" y="1000923"/>
                </a:lnTo>
                <a:lnTo>
                  <a:pt x="10586899" y="957712"/>
                </a:lnTo>
                <a:close/>
                <a:moveTo>
                  <a:pt x="11683359" y="957623"/>
                </a:moveTo>
                <a:lnTo>
                  <a:pt x="11683359" y="1000923"/>
                </a:lnTo>
                <a:lnTo>
                  <a:pt x="11657796" y="1000923"/>
                </a:lnTo>
                <a:lnTo>
                  <a:pt x="11657796" y="1017808"/>
                </a:lnTo>
                <a:lnTo>
                  <a:pt x="11683359" y="1017808"/>
                </a:lnTo>
                <a:lnTo>
                  <a:pt x="11683359" y="1103263"/>
                </a:lnTo>
                <a:cubicBezTo>
                  <a:pt x="11683359" y="1140059"/>
                  <a:pt x="11707061" y="1143007"/>
                  <a:pt x="11735758" y="1143007"/>
                </a:cubicBezTo>
                <a:cubicBezTo>
                  <a:pt x="11743250" y="1142836"/>
                  <a:pt x="11750723" y="1142056"/>
                  <a:pt x="11758089" y="1140676"/>
                </a:cubicBezTo>
                <a:lnTo>
                  <a:pt x="11760439" y="1140343"/>
                </a:lnTo>
                <a:lnTo>
                  <a:pt x="11760439" y="1123145"/>
                </a:lnTo>
                <a:lnTo>
                  <a:pt x="11757109" y="1123879"/>
                </a:lnTo>
                <a:cubicBezTo>
                  <a:pt x="11753338" y="1124651"/>
                  <a:pt x="11749499" y="1125018"/>
                  <a:pt x="11745650" y="1124976"/>
                </a:cubicBezTo>
                <a:cubicBezTo>
                  <a:pt x="11722634" y="1124976"/>
                  <a:pt x="11721458" y="1118218"/>
                  <a:pt x="11721458" y="1098689"/>
                </a:cubicBezTo>
                <a:lnTo>
                  <a:pt x="11721458" y="1017808"/>
                </a:lnTo>
                <a:lnTo>
                  <a:pt x="11764357" y="1017808"/>
                </a:lnTo>
                <a:lnTo>
                  <a:pt x="11764357" y="1000923"/>
                </a:lnTo>
                <a:lnTo>
                  <a:pt x="11721458" y="1000923"/>
                </a:lnTo>
                <a:lnTo>
                  <a:pt x="11721458" y="957623"/>
                </a:lnTo>
                <a:close/>
                <a:moveTo>
                  <a:pt x="11073573" y="941062"/>
                </a:moveTo>
                <a:lnTo>
                  <a:pt x="11073573" y="952413"/>
                </a:lnTo>
                <a:lnTo>
                  <a:pt x="11081212" y="953686"/>
                </a:lnTo>
                <a:cubicBezTo>
                  <a:pt x="11104425" y="957603"/>
                  <a:pt x="11106384" y="957927"/>
                  <a:pt x="11106384" y="980541"/>
                </a:cubicBezTo>
                <a:lnTo>
                  <a:pt x="11106384" y="1139765"/>
                </a:lnTo>
                <a:lnTo>
                  <a:pt x="11147323" y="1139765"/>
                </a:lnTo>
                <a:lnTo>
                  <a:pt x="11147323" y="981708"/>
                </a:lnTo>
                <a:lnTo>
                  <a:pt x="11251827" y="1139765"/>
                </a:lnTo>
                <a:lnTo>
                  <a:pt x="11302267" y="1139765"/>
                </a:lnTo>
                <a:lnTo>
                  <a:pt x="11302267" y="941062"/>
                </a:lnTo>
                <a:lnTo>
                  <a:pt x="11299623" y="941062"/>
                </a:lnTo>
                <a:lnTo>
                  <a:pt x="11261328" y="941062"/>
                </a:lnTo>
                <a:lnTo>
                  <a:pt x="11261328" y="1091990"/>
                </a:lnTo>
                <a:cubicBezTo>
                  <a:pt x="11253492" y="1080022"/>
                  <a:pt x="11161721" y="941062"/>
                  <a:pt x="11161721" y="941062"/>
                </a:cubicBezTo>
                <a:close/>
                <a:moveTo>
                  <a:pt x="10085829" y="939103"/>
                </a:moveTo>
                <a:cubicBezTo>
                  <a:pt x="10074421" y="937731"/>
                  <a:pt x="10064062" y="945866"/>
                  <a:pt x="10062691" y="957273"/>
                </a:cubicBezTo>
                <a:cubicBezTo>
                  <a:pt x="10061319" y="968679"/>
                  <a:pt x="10069454" y="979039"/>
                  <a:pt x="10080861" y="980411"/>
                </a:cubicBezTo>
                <a:cubicBezTo>
                  <a:pt x="10082413" y="980598"/>
                  <a:pt x="10083981" y="980609"/>
                  <a:pt x="10085535" y="980444"/>
                </a:cubicBezTo>
                <a:lnTo>
                  <a:pt x="10085535" y="980415"/>
                </a:lnTo>
                <a:cubicBezTo>
                  <a:pt x="10097883" y="981196"/>
                  <a:pt x="10108570" y="971918"/>
                  <a:pt x="10109531" y="959583"/>
                </a:cubicBezTo>
                <a:cubicBezTo>
                  <a:pt x="10108536" y="947436"/>
                  <a:pt x="10097992" y="938325"/>
                  <a:pt x="10085829" y="939103"/>
                </a:cubicBezTo>
                <a:close/>
                <a:moveTo>
                  <a:pt x="9480646" y="937655"/>
                </a:moveTo>
                <a:lnTo>
                  <a:pt x="9477708" y="937919"/>
                </a:lnTo>
                <a:lnTo>
                  <a:pt x="9402293" y="944775"/>
                </a:lnTo>
                <a:lnTo>
                  <a:pt x="9402293" y="955931"/>
                </a:lnTo>
                <a:lnTo>
                  <a:pt x="9404644" y="956225"/>
                </a:lnTo>
                <a:cubicBezTo>
                  <a:pt x="9435006" y="959800"/>
                  <a:pt x="9435006" y="959800"/>
                  <a:pt x="9435006" y="981690"/>
                </a:cubicBezTo>
                <a:lnTo>
                  <a:pt x="9435006" y="1139748"/>
                </a:lnTo>
                <a:lnTo>
                  <a:pt x="9480646" y="1139748"/>
                </a:lnTo>
                <a:close/>
                <a:moveTo>
                  <a:pt x="10710404" y="932962"/>
                </a:moveTo>
                <a:lnTo>
                  <a:pt x="10707368" y="933364"/>
                </a:lnTo>
                <a:lnTo>
                  <a:pt x="10646644" y="940827"/>
                </a:lnTo>
                <a:lnTo>
                  <a:pt x="10646644" y="951600"/>
                </a:lnTo>
                <a:lnTo>
                  <a:pt x="10649288" y="951688"/>
                </a:lnTo>
                <a:cubicBezTo>
                  <a:pt x="10668191" y="952531"/>
                  <a:pt x="10672207" y="956683"/>
                  <a:pt x="10672207" y="975146"/>
                </a:cubicBezTo>
                <a:lnTo>
                  <a:pt x="10672207" y="1139766"/>
                </a:lnTo>
                <a:lnTo>
                  <a:pt x="10710404" y="1139766"/>
                </a:lnTo>
                <a:lnTo>
                  <a:pt x="10710404" y="1068719"/>
                </a:lnTo>
                <a:cubicBezTo>
                  <a:pt x="10710404" y="1042755"/>
                  <a:pt x="10729699" y="1022628"/>
                  <a:pt x="10746251" y="1022628"/>
                </a:cubicBezTo>
                <a:cubicBezTo>
                  <a:pt x="10767504" y="1022628"/>
                  <a:pt x="10767504" y="1038553"/>
                  <a:pt x="10767504" y="1052657"/>
                </a:cubicBezTo>
                <a:lnTo>
                  <a:pt x="10767504" y="1139766"/>
                </a:lnTo>
                <a:lnTo>
                  <a:pt x="10805604" y="1139766"/>
                </a:lnTo>
                <a:lnTo>
                  <a:pt x="10805604" y="1048347"/>
                </a:lnTo>
                <a:cubicBezTo>
                  <a:pt x="10805604" y="1033157"/>
                  <a:pt x="10805604" y="997682"/>
                  <a:pt x="10762705" y="997682"/>
                </a:cubicBezTo>
                <a:cubicBezTo>
                  <a:pt x="10741089" y="997754"/>
                  <a:pt x="10721158" y="1009345"/>
                  <a:pt x="10710404" y="1028093"/>
                </a:cubicBezTo>
                <a:close/>
                <a:moveTo>
                  <a:pt x="11691292" y="901218"/>
                </a:moveTo>
                <a:lnTo>
                  <a:pt x="11642419" y="957691"/>
                </a:lnTo>
                <a:lnTo>
                  <a:pt x="11682771" y="957691"/>
                </a:lnTo>
                <a:lnTo>
                  <a:pt x="11731644" y="901218"/>
                </a:lnTo>
                <a:close/>
                <a:moveTo>
                  <a:pt x="10547331" y="583241"/>
                </a:moveTo>
                <a:lnTo>
                  <a:pt x="10606292" y="728608"/>
                </a:lnTo>
                <a:lnTo>
                  <a:pt x="10488370" y="728608"/>
                </a:lnTo>
                <a:close/>
                <a:moveTo>
                  <a:pt x="11138508" y="528864"/>
                </a:moveTo>
                <a:cubicBezTo>
                  <a:pt x="11138998" y="528864"/>
                  <a:pt x="11138508" y="848508"/>
                  <a:pt x="11138508" y="848508"/>
                </a:cubicBezTo>
                <a:lnTo>
                  <a:pt x="11223130" y="848508"/>
                </a:lnTo>
                <a:cubicBezTo>
                  <a:pt x="11223130" y="848596"/>
                  <a:pt x="11223228" y="708373"/>
                  <a:pt x="11223130" y="707844"/>
                </a:cubicBezTo>
                <a:cubicBezTo>
                  <a:pt x="11223130" y="707844"/>
                  <a:pt x="11394136" y="708236"/>
                  <a:pt x="11394136" y="707844"/>
                </a:cubicBezTo>
                <a:lnTo>
                  <a:pt x="11394136" y="848508"/>
                </a:lnTo>
                <a:cubicBezTo>
                  <a:pt x="11394234" y="848508"/>
                  <a:pt x="11478758" y="848508"/>
                  <a:pt x="11478856" y="848508"/>
                </a:cubicBezTo>
                <a:cubicBezTo>
                  <a:pt x="11479150" y="848156"/>
                  <a:pt x="11478856" y="528864"/>
                  <a:pt x="11478856" y="528864"/>
                </a:cubicBezTo>
                <a:cubicBezTo>
                  <a:pt x="11477974" y="528864"/>
                  <a:pt x="11394038" y="528864"/>
                  <a:pt x="11394136" y="528864"/>
                </a:cubicBezTo>
                <a:cubicBezTo>
                  <a:pt x="11394038" y="528835"/>
                  <a:pt x="11394136" y="657149"/>
                  <a:pt x="11394136" y="656678"/>
                </a:cubicBezTo>
                <a:lnTo>
                  <a:pt x="11223130" y="656678"/>
                </a:lnTo>
                <a:lnTo>
                  <a:pt x="11223130" y="528864"/>
                </a:lnTo>
                <a:close/>
                <a:moveTo>
                  <a:pt x="10075937" y="528864"/>
                </a:moveTo>
                <a:cubicBezTo>
                  <a:pt x="10076133" y="528933"/>
                  <a:pt x="10075937" y="583241"/>
                  <a:pt x="10075937" y="583241"/>
                </a:cubicBezTo>
                <a:lnTo>
                  <a:pt x="10205416" y="583241"/>
                </a:lnTo>
                <a:lnTo>
                  <a:pt x="10205416" y="848508"/>
                </a:lnTo>
                <a:lnTo>
                  <a:pt x="10290038" y="848508"/>
                </a:lnTo>
                <a:lnTo>
                  <a:pt x="10290038" y="583241"/>
                </a:lnTo>
                <a:lnTo>
                  <a:pt x="10419517" y="583241"/>
                </a:lnTo>
                <a:lnTo>
                  <a:pt x="10419517" y="528864"/>
                </a:lnTo>
                <a:cubicBezTo>
                  <a:pt x="10419517" y="528864"/>
                  <a:pt x="10076133" y="528933"/>
                  <a:pt x="10075937" y="528864"/>
                </a:cubicBezTo>
                <a:close/>
                <a:moveTo>
                  <a:pt x="10495421" y="528864"/>
                </a:moveTo>
                <a:lnTo>
                  <a:pt x="10346060" y="848508"/>
                </a:lnTo>
                <a:cubicBezTo>
                  <a:pt x="10346060" y="848508"/>
                  <a:pt x="10440378" y="848596"/>
                  <a:pt x="10440280" y="848508"/>
                </a:cubicBezTo>
                <a:cubicBezTo>
                  <a:pt x="10440672" y="848596"/>
                  <a:pt x="10467998" y="779773"/>
                  <a:pt x="10467998" y="779773"/>
                </a:cubicBezTo>
                <a:lnTo>
                  <a:pt x="10626663" y="779773"/>
                </a:lnTo>
                <a:cubicBezTo>
                  <a:pt x="10626663" y="779773"/>
                  <a:pt x="10654479" y="848508"/>
                  <a:pt x="10654381" y="848508"/>
                </a:cubicBezTo>
                <a:cubicBezTo>
                  <a:pt x="10653793" y="848508"/>
                  <a:pt x="10748895" y="848508"/>
                  <a:pt x="10748699" y="848508"/>
                </a:cubicBezTo>
                <a:lnTo>
                  <a:pt x="10599240" y="528864"/>
                </a:lnTo>
                <a:cubicBezTo>
                  <a:pt x="10599240" y="528864"/>
                  <a:pt x="10495421" y="529060"/>
                  <a:pt x="10495421" y="528864"/>
                </a:cubicBezTo>
                <a:close/>
                <a:moveTo>
                  <a:pt x="11545848" y="528864"/>
                </a:moveTo>
                <a:lnTo>
                  <a:pt x="11545848" y="848508"/>
                </a:lnTo>
                <a:lnTo>
                  <a:pt x="11630666" y="848508"/>
                </a:lnTo>
                <a:lnTo>
                  <a:pt x="11630666" y="528864"/>
                </a:lnTo>
                <a:close/>
                <a:moveTo>
                  <a:pt x="9553515" y="528864"/>
                </a:moveTo>
                <a:cubicBezTo>
                  <a:pt x="9554005" y="528864"/>
                  <a:pt x="9553515" y="848508"/>
                  <a:pt x="9553515" y="848508"/>
                </a:cubicBezTo>
                <a:lnTo>
                  <a:pt x="9638235" y="848508"/>
                </a:lnTo>
                <a:cubicBezTo>
                  <a:pt x="9638137" y="848596"/>
                  <a:pt x="9638333" y="708372"/>
                  <a:pt x="9638235" y="707844"/>
                </a:cubicBezTo>
                <a:cubicBezTo>
                  <a:pt x="9638235" y="707844"/>
                  <a:pt x="9809143" y="708235"/>
                  <a:pt x="9809143" y="707844"/>
                </a:cubicBezTo>
                <a:lnTo>
                  <a:pt x="9809143" y="848508"/>
                </a:lnTo>
                <a:cubicBezTo>
                  <a:pt x="9809241" y="848508"/>
                  <a:pt x="9893765" y="848508"/>
                  <a:pt x="9893863" y="848508"/>
                </a:cubicBezTo>
                <a:cubicBezTo>
                  <a:pt x="9894157" y="848156"/>
                  <a:pt x="9893863" y="528864"/>
                  <a:pt x="9893863" y="528864"/>
                </a:cubicBezTo>
                <a:cubicBezTo>
                  <a:pt x="9892982" y="528864"/>
                  <a:pt x="9809045" y="528864"/>
                  <a:pt x="9809143" y="528864"/>
                </a:cubicBezTo>
                <a:cubicBezTo>
                  <a:pt x="9809045" y="528835"/>
                  <a:pt x="9809143" y="657149"/>
                  <a:pt x="9809143" y="656678"/>
                </a:cubicBezTo>
                <a:lnTo>
                  <a:pt x="9638235" y="656678"/>
                </a:lnTo>
                <a:cubicBezTo>
                  <a:pt x="9638137" y="657589"/>
                  <a:pt x="9638235" y="528864"/>
                  <a:pt x="9638235" y="528864"/>
                </a:cubicBezTo>
                <a:close/>
                <a:moveTo>
                  <a:pt x="9960953" y="528864"/>
                </a:moveTo>
                <a:lnTo>
                  <a:pt x="9960953" y="848508"/>
                </a:lnTo>
                <a:lnTo>
                  <a:pt x="10045673" y="848508"/>
                </a:lnTo>
                <a:lnTo>
                  <a:pt x="10045673" y="528864"/>
                </a:lnTo>
                <a:close/>
                <a:moveTo>
                  <a:pt x="10929795" y="520972"/>
                </a:moveTo>
                <a:cubicBezTo>
                  <a:pt x="10895705" y="520037"/>
                  <a:pt x="10861435" y="525663"/>
                  <a:pt x="10828914" y="537904"/>
                </a:cubicBezTo>
                <a:cubicBezTo>
                  <a:pt x="10798464" y="549314"/>
                  <a:pt x="10772823" y="570783"/>
                  <a:pt x="10756241" y="598756"/>
                </a:cubicBezTo>
                <a:cubicBezTo>
                  <a:pt x="10740717" y="627243"/>
                  <a:pt x="10733146" y="659380"/>
                  <a:pt x="10734302" y="691800"/>
                </a:cubicBezTo>
                <a:cubicBezTo>
                  <a:pt x="10734233" y="714967"/>
                  <a:pt x="10738073" y="737980"/>
                  <a:pt x="10745663" y="759871"/>
                </a:cubicBezTo>
                <a:lnTo>
                  <a:pt x="10745663" y="759880"/>
                </a:lnTo>
                <a:cubicBezTo>
                  <a:pt x="10761403" y="800341"/>
                  <a:pt x="10795124" y="831133"/>
                  <a:pt x="10836847" y="843130"/>
                </a:cubicBezTo>
                <a:cubicBezTo>
                  <a:pt x="10864672" y="851890"/>
                  <a:pt x="10893673" y="856355"/>
                  <a:pt x="10922840" y="856372"/>
                </a:cubicBezTo>
                <a:cubicBezTo>
                  <a:pt x="10960234" y="856306"/>
                  <a:pt x="10997237" y="848747"/>
                  <a:pt x="11031654" y="834140"/>
                </a:cubicBezTo>
                <a:cubicBezTo>
                  <a:pt x="11061389" y="821282"/>
                  <a:pt x="11083318" y="795144"/>
                  <a:pt x="11090810" y="763621"/>
                </a:cubicBezTo>
                <a:cubicBezTo>
                  <a:pt x="11093210" y="753680"/>
                  <a:pt x="11094650" y="743533"/>
                  <a:pt x="11095120" y="733318"/>
                </a:cubicBezTo>
                <a:lnTo>
                  <a:pt x="11005895" y="733318"/>
                </a:lnTo>
                <a:cubicBezTo>
                  <a:pt x="11005993" y="745104"/>
                  <a:pt x="11003623" y="756780"/>
                  <a:pt x="10998941" y="767598"/>
                </a:cubicBezTo>
                <a:cubicBezTo>
                  <a:pt x="10991918" y="783450"/>
                  <a:pt x="10978442" y="795534"/>
                  <a:pt x="10961919" y="800790"/>
                </a:cubicBezTo>
                <a:cubicBezTo>
                  <a:pt x="10949294" y="804866"/>
                  <a:pt x="10936101" y="806919"/>
                  <a:pt x="10922840" y="806873"/>
                </a:cubicBezTo>
                <a:cubicBezTo>
                  <a:pt x="10907307" y="806833"/>
                  <a:pt x="10891910" y="803983"/>
                  <a:pt x="10877395" y="798460"/>
                </a:cubicBezTo>
                <a:cubicBezTo>
                  <a:pt x="10854849" y="789938"/>
                  <a:pt x="10837689" y="771214"/>
                  <a:pt x="10831167" y="748009"/>
                </a:cubicBezTo>
                <a:cubicBezTo>
                  <a:pt x="10825907" y="729738"/>
                  <a:pt x="10823175" y="710832"/>
                  <a:pt x="10823037" y="691820"/>
                </a:cubicBezTo>
                <a:cubicBezTo>
                  <a:pt x="10823086" y="668907"/>
                  <a:pt x="10826994" y="646167"/>
                  <a:pt x="10834595" y="624553"/>
                </a:cubicBezTo>
                <a:cubicBezTo>
                  <a:pt x="10842165" y="602725"/>
                  <a:pt x="10859188" y="585486"/>
                  <a:pt x="10880921" y="577649"/>
                </a:cubicBezTo>
                <a:cubicBezTo>
                  <a:pt x="10894378" y="572858"/>
                  <a:pt x="10908560" y="570417"/>
                  <a:pt x="10922840" y="570431"/>
                </a:cubicBezTo>
                <a:cubicBezTo>
                  <a:pt x="10935387" y="570428"/>
                  <a:pt x="10947864" y="572293"/>
                  <a:pt x="10959862" y="575964"/>
                </a:cubicBezTo>
                <a:cubicBezTo>
                  <a:pt x="10978118" y="581479"/>
                  <a:pt x="10992800" y="595124"/>
                  <a:pt x="10999627" y="612928"/>
                </a:cubicBezTo>
                <a:cubicBezTo>
                  <a:pt x="11002506" y="620816"/>
                  <a:pt x="11004063" y="629125"/>
                  <a:pt x="11004230" y="637521"/>
                </a:cubicBezTo>
                <a:lnTo>
                  <a:pt x="11093063" y="637521"/>
                </a:lnTo>
                <a:cubicBezTo>
                  <a:pt x="11092456" y="630719"/>
                  <a:pt x="11091437" y="623958"/>
                  <a:pt x="11090027" y="617276"/>
                </a:cubicBezTo>
                <a:cubicBezTo>
                  <a:pt x="11083112" y="584284"/>
                  <a:pt x="11060566" y="556724"/>
                  <a:pt x="11029597" y="543409"/>
                </a:cubicBezTo>
                <a:cubicBezTo>
                  <a:pt x="10997795" y="529404"/>
                  <a:pt x="10963885" y="521907"/>
                  <a:pt x="10929795" y="520972"/>
                </a:cubicBezTo>
                <a:close/>
                <a:moveTo>
                  <a:pt x="0" y="0"/>
                </a:moveTo>
                <a:lnTo>
                  <a:pt x="12193196" y="0"/>
                </a:lnTo>
                <a:lnTo>
                  <a:pt x="12193196" y="4738686"/>
                </a:lnTo>
                <a:lnTo>
                  <a:pt x="0" y="4738686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wrap="square" tIns="684000" anchor="ctr">
            <a:noAutofit/>
          </a:bodyPr>
          <a:lstStyle>
            <a:lvl1pPr algn="ctr">
              <a:defRPr sz="1800"/>
            </a:lvl1pPr>
          </a:lstStyle>
          <a:p>
            <a:r>
              <a:rPr lang="en-GB"/>
              <a:t> </a:t>
            </a:r>
          </a:p>
        </p:txBody>
      </p:sp>
      <p:grpSp>
        <p:nvGrpSpPr>
          <p:cNvPr id="16" name="グループ化 39">
            <a:extLst>
              <a:ext uri="{FF2B5EF4-FFF2-40B4-BE49-F238E27FC236}">
                <a16:creationId xmlns:a16="http://schemas.microsoft.com/office/drawing/2014/main" id="{6809A62B-C3B4-4040-AF1D-DC2BF3BDB821}"/>
              </a:ext>
            </a:extLst>
          </p:cNvPr>
          <p:cNvGrpSpPr/>
          <p:nvPr/>
        </p:nvGrpSpPr>
        <p:grpSpPr bwMode="gray">
          <a:xfrm>
            <a:off x="0" y="4739176"/>
            <a:ext cx="12192000" cy="129984"/>
            <a:chOff x="324487" y="2057426"/>
            <a:chExt cx="8495663" cy="97488"/>
          </a:xfrm>
        </p:grpSpPr>
        <p:sp>
          <p:nvSpPr>
            <p:cNvPr id="17" name="正方形/長方形 11">
              <a:extLst>
                <a:ext uri="{FF2B5EF4-FFF2-40B4-BE49-F238E27FC236}">
                  <a16:creationId xmlns:a16="http://schemas.microsoft.com/office/drawing/2014/main" id="{DE7BDB25-5A30-4A34-ABFC-B07249D3BF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4489" y="2057426"/>
              <a:ext cx="8495661" cy="97488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GB" altLang="ja-JP" sz="4623"/>
            </a:p>
          </p:txBody>
        </p:sp>
        <p:grpSp>
          <p:nvGrpSpPr>
            <p:cNvPr id="18" name="グループ化 16">
              <a:extLst>
                <a:ext uri="{FF2B5EF4-FFF2-40B4-BE49-F238E27FC236}">
                  <a16:creationId xmlns:a16="http://schemas.microsoft.com/office/drawing/2014/main" id="{74096499-38D4-462C-8826-1DB8FC711C1A}"/>
                </a:ext>
              </a:extLst>
            </p:cNvPr>
            <p:cNvGrpSpPr/>
            <p:nvPr/>
          </p:nvGrpSpPr>
          <p:grpSpPr bwMode="gray">
            <a:xfrm>
              <a:off x="324487" y="2057426"/>
              <a:ext cx="1938812" cy="97488"/>
              <a:chOff x="312738" y="2747963"/>
              <a:chExt cx="1970087" cy="109537"/>
            </a:xfrm>
          </p:grpSpPr>
          <p:sp>
            <p:nvSpPr>
              <p:cNvPr id="19" name="正方形/長方形 42">
                <a:extLst>
                  <a:ext uri="{FF2B5EF4-FFF2-40B4-BE49-F238E27FC236}">
                    <a16:creationId xmlns:a16="http://schemas.microsoft.com/office/drawing/2014/main" id="{177D7250-BABC-4571-82D6-043E996D9DB0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1970087" cy="109537"/>
              </a:xfrm>
              <a:prstGeom prst="rect">
                <a:avLst/>
              </a:prstGeom>
              <a:solidFill>
                <a:srgbClr val="FF002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altLang="ja-JP" sz="24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0" name="正方形/長方形 43">
                <a:extLst>
                  <a:ext uri="{FF2B5EF4-FFF2-40B4-BE49-F238E27FC236}">
                    <a16:creationId xmlns:a16="http://schemas.microsoft.com/office/drawing/2014/main" id="{BFDA5A74-11DA-4E7F-9508-F12960D3B74E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985837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GB" altLang="ja-JP" sz="24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5E85F302-37F9-404E-AEBD-A43A98EF1D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78800" y="6544105"/>
            <a:ext cx="2876400" cy="154800"/>
          </a:xfrm>
        </p:spPr>
        <p:txBody>
          <a:bodyPr tIns="0" anchor="ctr"/>
          <a:lstStyle>
            <a:lvl1pPr>
              <a:defRPr sz="900">
                <a:latin typeface="+mn-lt"/>
                <a:cs typeface="Arial" panose="020B0604020202020204" pitchFamily="34" charset="0"/>
              </a:defRPr>
            </a:lvl1pPr>
            <a:lvl2pPr>
              <a:defRPr sz="930"/>
            </a:lvl2pPr>
            <a:lvl3pPr>
              <a:defRPr sz="930"/>
            </a:lvl3pPr>
            <a:lvl4pPr>
              <a:defRPr sz="930"/>
            </a:lvl4pPr>
            <a:lvl5pPr>
              <a:defRPr sz="930"/>
            </a:lvl5pPr>
          </a:lstStyle>
          <a:p>
            <a:pPr lvl="0"/>
            <a:r>
              <a:rPr lang="en-GB"/>
              <a:t>YYYY-MM-DD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45CD5763-FDAA-489C-8FC1-2E600BB2FC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9330" y="6370483"/>
            <a:ext cx="2663370" cy="363891"/>
          </a:xfrm>
          <a:prstGeom prst="rect">
            <a:avLst/>
          </a:prstGeom>
        </p:spPr>
      </p:pic>
      <p:pic>
        <p:nvPicPr>
          <p:cNvPr id="23" name="Confidential" hidden="1">
            <a:extLst>
              <a:ext uri="{FF2B5EF4-FFF2-40B4-BE49-F238E27FC236}">
                <a16:creationId xmlns:a16="http://schemas.microsoft.com/office/drawing/2014/main" id="{F228D1DE-D36C-4E9B-BD91-2341FC0B7E0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7200" y="345600"/>
            <a:ext cx="1671890" cy="266400"/>
          </a:xfrm>
          <a:prstGeom prst="rect">
            <a:avLst/>
          </a:prstGeom>
        </p:spPr>
      </p:pic>
      <p:pic>
        <p:nvPicPr>
          <p:cNvPr id="24" name="Public">
            <a:extLst>
              <a:ext uri="{FF2B5EF4-FFF2-40B4-BE49-F238E27FC236}">
                <a16:creationId xmlns:a16="http://schemas.microsoft.com/office/drawing/2014/main" id="{335E045B-8C20-4063-A4AC-CE1126B6A6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5718" y="345600"/>
            <a:ext cx="1671890" cy="266400"/>
          </a:xfrm>
          <a:prstGeom prst="rect">
            <a:avLst/>
          </a:prstGeom>
        </p:spPr>
      </p:pic>
      <p:pic>
        <p:nvPicPr>
          <p:cNvPr id="25" name="Internal" hidden="1">
            <a:extLst>
              <a:ext uri="{FF2B5EF4-FFF2-40B4-BE49-F238E27FC236}">
                <a16:creationId xmlns:a16="http://schemas.microsoft.com/office/drawing/2014/main" id="{CFAE1106-3574-4FE9-B82F-D12EAEB197C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75718" y="344152"/>
            <a:ext cx="1671890" cy="266400"/>
          </a:xfrm>
          <a:prstGeom prst="rect">
            <a:avLst/>
          </a:prstGeom>
        </p:spPr>
      </p:pic>
      <p:pic>
        <p:nvPicPr>
          <p:cNvPr id="27" name="Strictly" hidden="1">
            <a:extLst>
              <a:ext uri="{FF2B5EF4-FFF2-40B4-BE49-F238E27FC236}">
                <a16:creationId xmlns:a16="http://schemas.microsoft.com/office/drawing/2014/main" id="{C9A12DA8-BB00-43A2-B6FC-35D89D95C92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61960" y="345600"/>
            <a:ext cx="1671890" cy="266400"/>
          </a:xfrm>
          <a:prstGeom prst="rect">
            <a:avLst/>
          </a:prstGeom>
        </p:spPr>
      </p:pic>
      <p:sp>
        <p:nvSpPr>
          <p:cNvPr id="28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9448B801-F420-43A0-9080-0D134B0120DD}"/>
              </a:ext>
            </a:extLst>
          </p:cNvPr>
          <p:cNvSpPr txBox="1"/>
          <p:nvPr userDrawn="1"/>
        </p:nvSpPr>
        <p:spPr bwMode="gray">
          <a:xfrm>
            <a:off x="4856400" y="6540775"/>
            <a:ext cx="24840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23 Hitachi Energy. All rights reserved.</a:t>
            </a:r>
            <a:endParaRPr kumimoji="0" lang="en-GB" sz="900" b="0" i="0" u="none" strike="noStrike" kern="1200" cap="none" spc="-1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17DA52BE-4641-459B-967D-8AA31C2640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68000" y="5090400"/>
            <a:ext cx="10555200" cy="493200"/>
          </a:xfrm>
        </p:spPr>
        <p:txBody>
          <a:bodyPr anchor="t"/>
          <a:lstStyle>
            <a:lvl1pPr algn="l">
              <a:lnSpc>
                <a:spcPct val="100000"/>
              </a:lnSpc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pl-PL" err="1"/>
              <a:t>Click</a:t>
            </a:r>
            <a:r>
              <a:rPr lang="pl-PL"/>
              <a:t> to insert </a:t>
            </a:r>
            <a:r>
              <a:rPr lang="en-GB"/>
              <a:t>Title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D0A8CE9F-7AA3-4C60-B5E5-71B02642F5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78800" y="5583600"/>
            <a:ext cx="10555200" cy="327600"/>
          </a:xfrm>
        </p:spPr>
        <p:txBody>
          <a:bodyPr tIns="0"/>
          <a:lstStyle>
            <a:lvl1pPr marL="0" indent="0" algn="l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err="1"/>
              <a:t>Click</a:t>
            </a:r>
            <a:r>
              <a:rPr lang="pl-PL"/>
              <a:t> to insert </a:t>
            </a:r>
            <a:r>
              <a:rPr lang="en-GB"/>
              <a:t>Subtitl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90B9AC15-7C17-4A5A-B8D0-D72EA236DE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78800" y="5972400"/>
            <a:ext cx="10555200" cy="306000"/>
          </a:xfrm>
        </p:spPr>
        <p:txBody>
          <a:bodyPr tIns="0"/>
          <a:lstStyle>
            <a:lvl1pPr>
              <a:defRPr>
                <a:latin typeface="Arial Nova Light" panose="020B0304020202020204" pitchFamily="34" charset="0"/>
              </a:defRPr>
            </a:lvl1pPr>
          </a:lstStyle>
          <a:p>
            <a:pPr lvl="0"/>
            <a:r>
              <a:rPr lang="pl-PL" err="1"/>
              <a:t>Click</a:t>
            </a:r>
            <a:r>
              <a:rPr lang="pl-PL"/>
              <a:t> to insert </a:t>
            </a:r>
            <a:r>
              <a:rPr lang="en-GB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669619329"/>
      </p:ext>
    </p:extLst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C16456-FE9E-4734-9723-6DE7B04520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7B611BD5-0B57-4CA8-A139-3E97653CB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91427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6F615568-8BB1-4119-9F0E-EB669FFD48CE}"/>
              </a:ext>
            </a:extLst>
          </p:cNvPr>
          <p:cNvSpPr>
            <a:spLocks noGrp="1"/>
          </p:cNvSpPr>
          <p:nvPr>
            <p:ph sz="quarter" idx="21"/>
          </p:nvPr>
        </p:nvSpPr>
        <p:spPr bwMode="gray">
          <a:xfrm>
            <a:off x="263525" y="1376363"/>
            <a:ext cx="11664950" cy="4968875"/>
          </a:xfrm>
        </p:spPr>
        <p:txBody>
          <a:bodyPr lIns="0" tIns="0" r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33F7BB-2950-4BC1-A9AA-52FECA7F76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4273D22-2B71-43EB-9519-018E5129B9DB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89CE1754-1F54-4839-94DA-AD4A33133F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63052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54091EA-6C3E-4A95-92A1-B050758AD4C9}"/>
              </a:ext>
            </a:extLst>
          </p:cNvPr>
          <p:cNvSpPr>
            <a:spLocks noGrp="1"/>
          </p:cNvSpPr>
          <p:nvPr>
            <p:ph sz="quarter" idx="21"/>
          </p:nvPr>
        </p:nvSpPr>
        <p:spPr bwMode="gray">
          <a:xfrm>
            <a:off x="263525" y="1376363"/>
            <a:ext cx="11664950" cy="4218539"/>
          </a:xfrm>
        </p:spPr>
        <p:txBody>
          <a:bodyPr lIns="0" tIns="0" r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742BE3E5-C35B-483A-9FF2-1492C28E74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C57A89-9255-4D37-ADA0-58485848A9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D2446E-4DC7-46DC-98FB-E33D66E8C9A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9799882D-C0FB-4C73-BF2A-0ABD77587A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953853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Box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54091EA-6C3E-4A95-92A1-B050758AD4C9}"/>
              </a:ext>
            </a:extLst>
          </p:cNvPr>
          <p:cNvSpPr>
            <a:spLocks noGrp="1"/>
          </p:cNvSpPr>
          <p:nvPr>
            <p:ph sz="quarter" idx="21"/>
          </p:nvPr>
        </p:nvSpPr>
        <p:spPr bwMode="gray">
          <a:xfrm>
            <a:off x="263525" y="1376363"/>
            <a:ext cx="11664950" cy="4218539"/>
          </a:xfrm>
        </p:spPr>
        <p:txBody>
          <a:bodyPr lIns="0" tIns="0" r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742BE3E5-C35B-483A-9FF2-1492C28E74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chemeClr val="tx2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C57A89-9255-4D37-ADA0-58485848A9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D2446E-4DC7-46DC-98FB-E33D66E8C9A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BE26394E-29D1-46B5-A21E-BF86016C73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906661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FAC527E1-CBF6-43CE-BCF3-6359E433CF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263525" y="1376363"/>
            <a:ext cx="1166495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6D6E47E2-CFF9-4929-BE9D-85365E9413F8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5" y="1747582"/>
            <a:ext cx="11664950" cy="459765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EB01191-2991-470F-8717-A3BD9DDF0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F7F699F-3B60-46E9-AA33-C172BE854E9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8B89303D-F0F4-4868-B2FB-176EF061F5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57767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FAC527E1-CBF6-43CE-BCF3-6359E433CF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263525" y="1376385"/>
            <a:ext cx="1166495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6D6E47E2-CFF9-4929-BE9D-85365E9413F8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5" y="1747603"/>
            <a:ext cx="11664950" cy="3913643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ABAAD68-8B16-486F-BAEC-5ACAD86B6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10F195E-83B2-41A2-8F36-04F29336C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D44020-1EE9-4779-A3A0-FDAC3082CD89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11604466-CE56-4CD2-A4BA-7D4C6E3282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62148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&amp; Box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FAC527E1-CBF6-43CE-BCF3-6359E433CF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263525" y="1376385"/>
            <a:ext cx="1166495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6D6E47E2-CFF9-4929-BE9D-85365E9413F8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5" y="1747603"/>
            <a:ext cx="11664950" cy="3913643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ABAAD68-8B16-486F-BAEC-5ACAD86B6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chemeClr val="tx2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10F195E-83B2-41A2-8F36-04F29336C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D44020-1EE9-4779-A3A0-FDAC3082CD89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F79DE625-41DA-4423-BE37-91C80B7345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556833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77CF11F9-392A-4F9A-A9E9-90FDCBED0E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376363"/>
            <a:ext cx="561551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684B176C-259C-4283-A8C6-335BD6553B0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6311571" y="1376363"/>
            <a:ext cx="560520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2EE9DBAB-CFE0-42C2-B2D3-65B2D93F8BB9}"/>
              </a:ext>
            </a:extLst>
          </p:cNvPr>
          <p:cNvSpPr>
            <a:spLocks noGrp="1"/>
          </p:cNvSpPr>
          <p:nvPr>
            <p:ph sz="quarter" idx="20"/>
          </p:nvPr>
        </p:nvSpPr>
        <p:spPr bwMode="gray">
          <a:xfrm>
            <a:off x="6310511" y="1747582"/>
            <a:ext cx="5616503" cy="459765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5CDF3E76-DB43-4E8F-87C4-29ECB4438624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747582"/>
            <a:ext cx="5615515" cy="459765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E51AC65-A913-4EDC-BBFD-A07E0F9705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617785-5434-47A5-8365-A50D531B22F7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14CAA2AD-7038-4798-953A-8C36409E37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75973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&amp; Content (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BE773D7E-8737-4549-BA6F-9CD12F2D24F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376363"/>
            <a:ext cx="561551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7F36FFC0-2B26-4B6E-81E9-87E8914B4D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6311571" y="1376363"/>
            <a:ext cx="560520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CB0DE72E-A072-4713-B9D3-7CF3F972BD71}"/>
              </a:ext>
            </a:extLst>
          </p:cNvPr>
          <p:cNvSpPr>
            <a:spLocks noGrp="1"/>
          </p:cNvSpPr>
          <p:nvPr>
            <p:ph sz="quarter" idx="20"/>
          </p:nvPr>
        </p:nvSpPr>
        <p:spPr bwMode="gray">
          <a:xfrm>
            <a:off x="6310511" y="1747582"/>
            <a:ext cx="5616503" cy="384732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06D04365-BF08-447A-9A64-A43CDFB2EB55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747582"/>
            <a:ext cx="5615515" cy="384732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EA4E27D0-DBD6-427E-9C38-152E21795D9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0F44204-EEB3-4F01-B49E-2A16F4D8A8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C3FCE9-6C86-484F-A6C3-F0020F94E2ED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274928C5-A623-4A7C-BAC2-D3FFD62953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12046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&amp; Content (2) &amp; Box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BE773D7E-8737-4549-BA6F-9CD12F2D24F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376363"/>
            <a:ext cx="561551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7F36FFC0-2B26-4B6E-81E9-87E8914B4D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6311571" y="1376363"/>
            <a:ext cx="5605200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CB0DE72E-A072-4713-B9D3-7CF3F972BD71}"/>
              </a:ext>
            </a:extLst>
          </p:cNvPr>
          <p:cNvSpPr>
            <a:spLocks noGrp="1"/>
          </p:cNvSpPr>
          <p:nvPr>
            <p:ph sz="quarter" idx="20"/>
          </p:nvPr>
        </p:nvSpPr>
        <p:spPr bwMode="gray">
          <a:xfrm>
            <a:off x="6310511" y="1747582"/>
            <a:ext cx="5616503" cy="384732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06D04365-BF08-447A-9A64-A43CDFB2EB55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747582"/>
            <a:ext cx="5615515" cy="384732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EA4E27D0-DBD6-427E-9C38-152E21795D9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chemeClr val="tx2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0F44204-EEB3-4F01-B49E-2A16F4D8A8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C3FCE9-6C86-484F-A6C3-F0020F94E2ED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381DB3D-7433-47D1-AC50-4E4DF78DA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2647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.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グループ化 39">
            <a:extLst>
              <a:ext uri="{FF2B5EF4-FFF2-40B4-BE49-F238E27FC236}">
                <a16:creationId xmlns:a16="http://schemas.microsoft.com/office/drawing/2014/main" id="{B3FFABD1-269F-4846-BFA7-64B93DCEC6FF}"/>
              </a:ext>
            </a:extLst>
          </p:cNvPr>
          <p:cNvGrpSpPr/>
          <p:nvPr userDrawn="1"/>
        </p:nvGrpSpPr>
        <p:grpSpPr bwMode="gray">
          <a:xfrm>
            <a:off x="0" y="2708310"/>
            <a:ext cx="12193203" cy="131544"/>
            <a:chOff x="324487" y="2057426"/>
            <a:chExt cx="8104303" cy="97488"/>
          </a:xfrm>
        </p:grpSpPr>
        <p:sp>
          <p:nvSpPr>
            <p:cNvPr id="9" name="正方形/長方形 11">
              <a:extLst>
                <a:ext uri="{FF2B5EF4-FFF2-40B4-BE49-F238E27FC236}">
                  <a16:creationId xmlns:a16="http://schemas.microsoft.com/office/drawing/2014/main" id="{4E3F898B-5217-45A3-AF93-4EDA063B574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324489" y="2057426"/>
              <a:ext cx="8104301" cy="97488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 altLang="ja-JP" sz="4623"/>
            </a:p>
          </p:txBody>
        </p:sp>
        <p:grpSp>
          <p:nvGrpSpPr>
            <p:cNvPr id="10" name="グループ化 16">
              <a:extLst>
                <a:ext uri="{FF2B5EF4-FFF2-40B4-BE49-F238E27FC236}">
                  <a16:creationId xmlns:a16="http://schemas.microsoft.com/office/drawing/2014/main" id="{CEAA1F3A-29E0-4030-B5D2-D5DBBF92BB2E}"/>
                </a:ext>
              </a:extLst>
            </p:cNvPr>
            <p:cNvGrpSpPr/>
            <p:nvPr/>
          </p:nvGrpSpPr>
          <p:grpSpPr bwMode="gray">
            <a:xfrm>
              <a:off x="324487" y="2057426"/>
              <a:ext cx="1945319" cy="97488"/>
              <a:chOff x="312738" y="2747963"/>
              <a:chExt cx="1976699" cy="109537"/>
            </a:xfrm>
          </p:grpSpPr>
          <p:sp>
            <p:nvSpPr>
              <p:cNvPr id="11" name="正方形/長方形 42">
                <a:extLst>
                  <a:ext uri="{FF2B5EF4-FFF2-40B4-BE49-F238E27FC236}">
                    <a16:creationId xmlns:a16="http://schemas.microsoft.com/office/drawing/2014/main" id="{6DDE0990-A36E-471E-933F-CBBD7D5F100B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1976699" cy="109537"/>
              </a:xfrm>
              <a:prstGeom prst="rect">
                <a:avLst/>
              </a:prstGeom>
              <a:solidFill>
                <a:srgbClr val="FF002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US" altLang="ja-JP" sz="24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2" name="正方形/長方形 43">
                <a:extLst>
                  <a:ext uri="{FF2B5EF4-FFF2-40B4-BE49-F238E27FC236}">
                    <a16:creationId xmlns:a16="http://schemas.microsoft.com/office/drawing/2014/main" id="{CCC91D33-C000-46EE-8043-68A33CD8C5CB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1077094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US" altLang="ja-JP" sz="24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F8698C6D-D2EA-437A-876C-9E6155B91B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00800" y="6372000"/>
            <a:ext cx="2661221" cy="3636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6D536B5-B05C-48FB-A470-403897ADA0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403200" y="522000"/>
            <a:ext cx="2359426" cy="674919"/>
          </a:xfrm>
          <a:prstGeom prst="rect">
            <a:avLst/>
          </a:prstGeom>
        </p:spPr>
      </p:pic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EA0F644-66A0-4751-967F-CC294072E6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538650-C20C-4DFC-8B0E-3A4E7D1DB3C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416400" y="6433200"/>
            <a:ext cx="5040000" cy="255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E8FD1A76-2CD3-4660-8FE9-871856FF2FAF}"/>
              </a:ext>
            </a:extLst>
          </p:cNvPr>
          <p:cNvSpPr txBox="1"/>
          <p:nvPr userDrawn="1"/>
        </p:nvSpPr>
        <p:spPr bwMode="gray">
          <a:xfrm>
            <a:off x="777600" y="6543351"/>
            <a:ext cx="24336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23 Hitachi Energy. All rights reserved.</a:t>
            </a:r>
            <a:endParaRPr kumimoji="0" lang="en-GB" sz="900" b="0" i="0" u="none" strike="noStrike" kern="1200" cap="none" spc="-1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text" descr="{&#10; &quot;SkabelonDesign&quot;: {&#10; &quot;textualValue&quot;: &quot;&lt;key1/&gt;&quot;,&#10; &quot;bindingCollection&quot;: {&#10; &quot;key1&quot;: {&quot;SkabelonDesign&quot;:{&quot;type&quot;:&quot;Text&quot;,&quot;binding&quot;:&quot;SecurityLevel&quot;}}&#10; }&#10; }&#10;}">
            <a:extLst>
              <a:ext uri="{FF2B5EF4-FFF2-40B4-BE49-F238E27FC236}">
                <a16:creationId xmlns:a16="http://schemas.microsoft.com/office/drawing/2014/main" id="{CB7D391F-DEEA-473B-B070-85560DC4D0B9}"/>
              </a:ext>
            </a:extLst>
          </p:cNvPr>
          <p:cNvSpPr txBox="1"/>
          <p:nvPr userDrawn="1"/>
        </p:nvSpPr>
        <p:spPr bwMode="gray">
          <a:xfrm>
            <a:off x="777600" y="6411600"/>
            <a:ext cx="24336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  <a:endParaRPr kumimoji="0" lang="en-GB" sz="900" b="0" i="0" u="none" strike="noStrike" kern="1200" cap="none" spc="-1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887DE71-30BD-4632-8360-B13349276B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95639" y="3225600"/>
            <a:ext cx="8815185" cy="666000"/>
          </a:xfrm>
        </p:spPr>
        <p:txBody>
          <a:bodyPr anchor="t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78E059F7-1D4A-431E-820A-739E9C3EEB4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94566" y="3945041"/>
            <a:ext cx="8815185" cy="648000"/>
          </a:xfrm>
        </p:spPr>
        <p:txBody>
          <a:bodyPr lIns="36000" tIns="0"/>
          <a:lstStyle>
            <a:lvl1pPr marL="0" indent="0" algn="l">
              <a:buNone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Version 1.0</a:t>
            </a:r>
          </a:p>
        </p:txBody>
      </p:sp>
    </p:spTree>
    <p:extLst>
      <p:ext uri="{BB962C8B-B14F-4D97-AF65-F5344CB8AC3E}">
        <p14:creationId xmlns:p14="http://schemas.microsoft.com/office/powerpoint/2010/main" val="18784900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&amp; Content (2)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A599E7F5-F415-4C65-8A99-EC0A5EE9793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376363"/>
            <a:ext cx="367117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27E9E322-46EC-4812-B19E-68EF57BB65AB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747582"/>
            <a:ext cx="3671175" cy="4597664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7AECB15B-5F0D-4632-BB23-2A56F9E9A20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4366170" y="1376363"/>
            <a:ext cx="7545699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E9CCB12E-B98C-43F0-816E-4E115D505FDA}"/>
              </a:ext>
            </a:extLst>
          </p:cNvPr>
          <p:cNvSpPr>
            <a:spLocks noGrp="1"/>
          </p:cNvSpPr>
          <p:nvPr>
            <p:ph sz="quarter" idx="20"/>
          </p:nvPr>
        </p:nvSpPr>
        <p:spPr bwMode="gray">
          <a:xfrm>
            <a:off x="4365111" y="1747581"/>
            <a:ext cx="7560915" cy="4597657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9BC0EB3-0C96-4FAD-BB70-3339053B89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709718-154C-4117-B81B-8D8A3FB3AB1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D9570EDF-BB99-46E9-918F-CF0BCDF2BB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84680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&amp; Content (2) &amp; Box (v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AD71F2CD-2ABA-47E7-80A2-CB490649539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4" y="1376363"/>
            <a:ext cx="367117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12D8E76E-A1D6-4C7B-AC9A-D9C66C06AF94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263524" y="1747582"/>
            <a:ext cx="3671175" cy="3750082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0D895BA9-38D6-49B2-82EE-7B980725286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4366170" y="1376363"/>
            <a:ext cx="7545699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6071C9E5-62CE-489F-BACC-9EE6ECE4F55F}"/>
              </a:ext>
            </a:extLst>
          </p:cNvPr>
          <p:cNvSpPr>
            <a:spLocks noGrp="1"/>
          </p:cNvSpPr>
          <p:nvPr>
            <p:ph sz="quarter" idx="20"/>
          </p:nvPr>
        </p:nvSpPr>
        <p:spPr bwMode="gray">
          <a:xfrm>
            <a:off x="4365111" y="1747582"/>
            <a:ext cx="7560915" cy="375007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1BDAA8F4-93B7-40C6-881D-E92B143E296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669DD4F-6CD1-4129-972D-E8E5288D5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12DBCD-C109-41A7-A6F0-127DF4C5A2B1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C5859B44-29F5-4115-9292-B9989893B3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49989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3B05BF5E-4371-47AB-A1FF-B10995CF22F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63525" y="4870312"/>
            <a:ext cx="2952153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6C90D6E3-10FE-4F7A-9BC6-9EE50B88556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263525" y="1378657"/>
            <a:ext cx="295215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316FDD13-2FD3-4BDC-92B0-6E2A4E622EE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263523" y="3136258"/>
            <a:ext cx="295215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E2783D5F-0057-4639-BF27-31ED9E0868C1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263525" y="1730324"/>
            <a:ext cx="2952153" cy="112261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B590CC18-1B6B-4861-868E-A6987D93954C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263525" y="3496487"/>
            <a:ext cx="2952153" cy="1086373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CBF013C-2857-4ABA-A4A4-FB2F2770E661}"/>
              </a:ext>
            </a:extLst>
          </p:cNvPr>
          <p:cNvSpPr>
            <a:spLocks noGrp="1"/>
          </p:cNvSpPr>
          <p:nvPr>
            <p:ph sz="quarter" idx="28"/>
          </p:nvPr>
        </p:nvSpPr>
        <p:spPr bwMode="gray">
          <a:xfrm>
            <a:off x="263525" y="5248208"/>
            <a:ext cx="2952153" cy="109703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2" name="Content Placeholder 3">
            <a:extLst>
              <a:ext uri="{FF2B5EF4-FFF2-40B4-BE49-F238E27FC236}">
                <a16:creationId xmlns:a16="http://schemas.microsoft.com/office/drawing/2014/main" id="{76DE9C61-D509-4314-B722-D4958D1B5C13}"/>
              </a:ext>
            </a:extLst>
          </p:cNvPr>
          <p:cNvSpPr>
            <a:spLocks noGrp="1"/>
          </p:cNvSpPr>
          <p:nvPr>
            <p:ph sz="quarter" idx="29"/>
          </p:nvPr>
        </p:nvSpPr>
        <p:spPr bwMode="gray">
          <a:xfrm>
            <a:off x="3503712" y="1376172"/>
            <a:ext cx="8424763" cy="1476762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B07CE416-A776-4B9B-869E-F13DCB2194D7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3503712" y="3125397"/>
            <a:ext cx="8424763" cy="1457464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Content Placeholder 3">
            <a:extLst>
              <a:ext uri="{FF2B5EF4-FFF2-40B4-BE49-F238E27FC236}">
                <a16:creationId xmlns:a16="http://schemas.microsoft.com/office/drawing/2014/main" id="{768861B8-49F9-4E24-A37A-AC60CAABF377}"/>
              </a:ext>
            </a:extLst>
          </p:cNvPr>
          <p:cNvSpPr>
            <a:spLocks noGrp="1"/>
          </p:cNvSpPr>
          <p:nvPr>
            <p:ph sz="quarter" idx="31"/>
          </p:nvPr>
        </p:nvSpPr>
        <p:spPr bwMode="gray">
          <a:xfrm>
            <a:off x="3503712" y="4887774"/>
            <a:ext cx="8424763" cy="1457464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2DFEC67-6E2A-46BD-A71B-DEDF2A482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EFC85C-8424-44CD-A63A-4F96F49C3191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86528114-0333-4543-95AF-F1B6C4A26E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920246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Content (6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EF52691-9CCC-4E90-9911-5B12BEE570C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263525" y="1380698"/>
            <a:ext cx="295215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BFE9AA9-753B-41E3-A0DD-DC664AD2E029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263525" y="1756815"/>
            <a:ext cx="2952153" cy="739879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050C276D-2B61-40CC-9FA8-AE23FE1A7BF5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3503712" y="1376172"/>
            <a:ext cx="8424763" cy="120852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8D141BDE-D9C9-41F9-8359-B351B85CDA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263525" y="2902631"/>
            <a:ext cx="295215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73465EF4-66D8-44A5-9800-552FABFF1AB5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263525" y="3262861"/>
            <a:ext cx="2952153" cy="72096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1C770F5A-E529-42AD-8C31-39184B9E342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75973" y="4394026"/>
            <a:ext cx="2935497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F4DAC50B-76F8-4A8A-AECB-24981C653257}"/>
              </a:ext>
            </a:extLst>
          </p:cNvPr>
          <p:cNvSpPr>
            <a:spLocks noGrp="1"/>
          </p:cNvSpPr>
          <p:nvPr>
            <p:ph sz="quarter" idx="28"/>
          </p:nvPr>
        </p:nvSpPr>
        <p:spPr bwMode="gray">
          <a:xfrm>
            <a:off x="275973" y="4771922"/>
            <a:ext cx="2952153" cy="72096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Content Placeholder 3">
            <a:extLst>
              <a:ext uri="{FF2B5EF4-FFF2-40B4-BE49-F238E27FC236}">
                <a16:creationId xmlns:a16="http://schemas.microsoft.com/office/drawing/2014/main" id="{5D891E61-D8AD-42D7-9D9D-031BF8EE4B4E}"/>
              </a:ext>
            </a:extLst>
          </p:cNvPr>
          <p:cNvSpPr>
            <a:spLocks noGrp="1"/>
          </p:cNvSpPr>
          <p:nvPr>
            <p:ph sz="quarter" idx="31"/>
          </p:nvPr>
        </p:nvSpPr>
        <p:spPr bwMode="gray">
          <a:xfrm>
            <a:off x="3503712" y="2904037"/>
            <a:ext cx="8424763" cy="120852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35F881D5-BB6A-4F6C-80FC-64D9F2EE741B}"/>
              </a:ext>
            </a:extLst>
          </p:cNvPr>
          <p:cNvSpPr>
            <a:spLocks noGrp="1"/>
          </p:cNvSpPr>
          <p:nvPr>
            <p:ph sz="quarter" idx="32"/>
          </p:nvPr>
        </p:nvSpPr>
        <p:spPr bwMode="gray">
          <a:xfrm>
            <a:off x="3503712" y="4398803"/>
            <a:ext cx="8424763" cy="1208528"/>
          </a:xfrm>
        </p:spPr>
        <p:txBody>
          <a:bodyPr lIns="0" tIns="108000" rIns="0" bIns="0"/>
          <a:lstStyle>
            <a:lvl1pPr>
              <a:lnSpc>
                <a:spcPct val="1000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spcBef>
                <a:spcPts val="600"/>
              </a:spcBef>
              <a:defRPr sz="1200"/>
            </a:lvl2pPr>
            <a:lvl3pPr>
              <a:lnSpc>
                <a:spcPct val="100000"/>
              </a:lnSpc>
              <a:spcBef>
                <a:spcPts val="600"/>
              </a:spcBef>
              <a:defRPr sz="1200"/>
            </a:lvl3pPr>
            <a:lvl4pPr>
              <a:lnSpc>
                <a:spcPct val="100000"/>
              </a:lnSpc>
              <a:spcBef>
                <a:spcPts val="600"/>
              </a:spcBef>
              <a:defRPr sz="12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D362199-6D4B-4B90-B6A1-5E71DFDDBBF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20A5915-B847-497E-8CE3-06F002BDFC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E7E9A74-B369-4964-8A1E-229B50EC86F9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02B37D9A-84F7-4FC5-A2FB-906DA85B83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213649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EAD88574-00B8-4D9B-93EB-50F073EEE67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89049" y="1376364"/>
            <a:ext cx="8437840" cy="4968873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D200B697-7AE4-424E-83E6-544B82503EE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80181" y="4985012"/>
            <a:ext cx="2935497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DC4BA68C-5B4C-4A6C-846E-96C50FE50D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263525" y="1379474"/>
            <a:ext cx="295215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5EDA259E-FC8F-43D1-B501-E3CEAB63670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263523" y="3177353"/>
            <a:ext cx="295215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374300A6-D16D-4065-B7F9-8A14A4823F9B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263525" y="1740921"/>
            <a:ext cx="2952153" cy="1008108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7BF585E-C297-4501-AF84-9BD4BE063F94}"/>
              </a:ext>
            </a:extLst>
          </p:cNvPr>
          <p:cNvSpPr>
            <a:spLocks noGrp="1"/>
          </p:cNvSpPr>
          <p:nvPr>
            <p:ph sz="quarter" idx="28"/>
          </p:nvPr>
        </p:nvSpPr>
        <p:spPr bwMode="gray">
          <a:xfrm>
            <a:off x="263525" y="3564803"/>
            <a:ext cx="2952153" cy="98233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AB88D336-5640-4086-8C90-556FE2D9D99E}"/>
              </a:ext>
            </a:extLst>
          </p:cNvPr>
          <p:cNvSpPr>
            <a:spLocks noGrp="1"/>
          </p:cNvSpPr>
          <p:nvPr>
            <p:ph sz="quarter" idx="29"/>
          </p:nvPr>
        </p:nvSpPr>
        <p:spPr bwMode="gray">
          <a:xfrm>
            <a:off x="263525" y="5362908"/>
            <a:ext cx="2952153" cy="98233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AA928351-B87F-49BA-ACE8-AE4121245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241C3F-0122-46DF-8F86-BE4B98737889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2800C0ED-E572-49FB-B072-C0952C26F2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20164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3) &amp; Content (4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9CC6681E-BC33-4CAF-AFB3-EBB43BD322E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89049" y="1376364"/>
            <a:ext cx="8437840" cy="4264475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A456FEF9-EFA3-4797-83EF-F48AA5968C8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263525" y="1381254"/>
            <a:ext cx="2952156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418C37B3-FDA7-4582-A6B2-DF971CCAAD37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>
          <a:xfrm>
            <a:off x="263525" y="1747591"/>
            <a:ext cx="2952153" cy="739879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3138666-4D60-430D-84CA-98923051AE9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263525" y="2936202"/>
            <a:ext cx="2952155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F262DA2-6165-4B36-88C9-DAE3B63AD4F1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263525" y="3320223"/>
            <a:ext cx="2952153" cy="72096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88847DCA-998F-4A45-800E-CAFE0984C32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275973" y="4496041"/>
            <a:ext cx="2935497" cy="252000"/>
          </a:xfrm>
        </p:spPr>
        <p:txBody>
          <a:bodyPr lIns="0" tIns="0" rIns="0" anchor="t"/>
          <a:lstStyle>
            <a:lvl1pPr marL="0" indent="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100"/>
              </a:spcBef>
              <a:buNone/>
              <a:defRPr sz="1600" b="1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C16325E6-C1F6-4393-A300-FB4F110973D8}"/>
              </a:ext>
            </a:extLst>
          </p:cNvPr>
          <p:cNvSpPr>
            <a:spLocks noGrp="1"/>
          </p:cNvSpPr>
          <p:nvPr>
            <p:ph sz="quarter" idx="28"/>
          </p:nvPr>
        </p:nvSpPr>
        <p:spPr bwMode="gray">
          <a:xfrm>
            <a:off x="275973" y="4873937"/>
            <a:ext cx="2952153" cy="72096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9EB9EBF-A7BC-402C-B3E0-262AB3649DD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lIns="252000" tIns="0" rIns="25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6F663D08-3767-42E7-8213-FF35A9ED0D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5F0218-B48B-4787-ACF8-94A8D647E2C8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9EDDBE66-12AC-4A55-BF4F-9BDB11683F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161697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(1.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0EE7B7B-F566-4855-B2E0-D348111D66F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15681" y="882650"/>
            <a:ext cx="8976319" cy="5462588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9C6567E-C4DF-4FB0-9D5E-ACC3B7BDA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9ECDE9D-EBE5-49D3-91E5-562E228B7E6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7F8A0420-B904-40E2-A2FB-F91A10E55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62685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CF477D-6C63-4F4F-9AE3-EEDFA6E93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0209B7B-C8FD-4B4E-8E75-636AE148E250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263524" y="2097089"/>
            <a:ext cx="11664951" cy="356415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9D907760-3A9C-4029-BC6E-C55487567DDB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 bwMode="gray">
          <a:xfrm>
            <a:off x="263524" y="882844"/>
            <a:ext cx="11664951" cy="856793"/>
          </a:xfrm>
        </p:spPr>
        <p:txBody>
          <a:bodyPr lIns="0" tIns="144000" rIns="0" b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  <a:lvl2pPr marL="0" indent="0">
              <a:lnSpc>
                <a:spcPct val="90000"/>
              </a:lnSpc>
              <a:spcBef>
                <a:spcPts val="1000"/>
              </a:spcBef>
              <a:buNone/>
              <a:defRPr sz="1800"/>
            </a:lvl2pPr>
            <a:lvl3pPr>
              <a:lnSpc>
                <a:spcPct val="90000"/>
              </a:lnSpc>
              <a:spcBef>
                <a:spcPts val="1000"/>
              </a:spcBef>
              <a:defRPr/>
            </a:lvl3pPr>
            <a:lvl4pPr>
              <a:lnSpc>
                <a:spcPct val="90000"/>
              </a:lnSpc>
              <a:spcBef>
                <a:spcPts val="1000"/>
              </a:spcBef>
              <a:defRPr/>
            </a:lvl4pPr>
            <a:lvl5pPr>
              <a:lnSpc>
                <a:spcPct val="90000"/>
              </a:lnSpc>
              <a:spcBef>
                <a:spcPts val="1000"/>
              </a:spcBef>
              <a:defRPr/>
            </a:lvl5pPr>
          </a:lstStyle>
          <a:p>
            <a:pPr lvl="0"/>
            <a:r>
              <a:rPr lang="en-US"/>
              <a:t>Click to edit Master Subtitle styles</a:t>
            </a:r>
          </a:p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CA8DD60-BCEB-4178-AAEE-8C17E6DDA85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0" y="5805264"/>
            <a:ext cx="12192000" cy="539974"/>
          </a:xfrm>
          <a:solidFill>
            <a:srgbClr val="D9D9D9"/>
          </a:solidFill>
        </p:spPr>
        <p:txBody>
          <a:bodyPr t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CC1BC8-7CF2-4BE1-92E5-3047820D007D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02B20BA0-3C91-45E4-B4B9-4057E65329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80808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inal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955EA737-E18C-4E98-8E86-B49DD32BD1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05686" y="3123000"/>
            <a:ext cx="4380627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569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272A433E-C8B8-4444-AEED-64F001FDB7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34468" y="2869481"/>
            <a:ext cx="3923063" cy="1119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4262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D04DA-BB47-4750-8A44-88B15E82698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98907" y="1990949"/>
            <a:ext cx="8815185" cy="494203"/>
          </a:xfrm>
        </p:spPr>
        <p:txBody>
          <a:bodyPr anchor="t"/>
          <a:lstStyle>
            <a:lvl1pPr algn="l"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01529F75-5663-4C03-96B5-0F1F0D69FA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89B7F61-230E-4B3E-BF70-2CD676232A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03200" y="522000"/>
            <a:ext cx="2359426" cy="674919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1998C1C1-FCA3-4919-A5E7-F00A9F4C801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00800" y="6372000"/>
            <a:ext cx="2661221" cy="363600"/>
          </a:xfrm>
          <a:prstGeom prst="rect">
            <a:avLst/>
          </a:prstGeom>
        </p:spPr>
      </p:pic>
      <p:grpSp>
        <p:nvGrpSpPr>
          <p:cNvPr id="25" name="グループ化 39">
            <a:extLst>
              <a:ext uri="{FF2B5EF4-FFF2-40B4-BE49-F238E27FC236}">
                <a16:creationId xmlns:a16="http://schemas.microsoft.com/office/drawing/2014/main" id="{FA3F7484-7BAE-4EA2-B7C9-7CB4B37585D7}"/>
              </a:ext>
            </a:extLst>
          </p:cNvPr>
          <p:cNvGrpSpPr/>
          <p:nvPr userDrawn="1"/>
        </p:nvGrpSpPr>
        <p:grpSpPr bwMode="gray">
          <a:xfrm>
            <a:off x="0" y="2708310"/>
            <a:ext cx="12193203" cy="131544"/>
            <a:chOff x="324487" y="2057426"/>
            <a:chExt cx="8104303" cy="97488"/>
          </a:xfrm>
        </p:grpSpPr>
        <p:sp>
          <p:nvSpPr>
            <p:cNvPr id="27" name="正方形/長方形 11">
              <a:extLst>
                <a:ext uri="{FF2B5EF4-FFF2-40B4-BE49-F238E27FC236}">
                  <a16:creationId xmlns:a16="http://schemas.microsoft.com/office/drawing/2014/main" id="{AC587E33-7A2C-4448-B825-67039A0700B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324489" y="2057426"/>
              <a:ext cx="8104301" cy="97488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 altLang="ja-JP" sz="4623"/>
            </a:p>
          </p:txBody>
        </p:sp>
        <p:grpSp>
          <p:nvGrpSpPr>
            <p:cNvPr id="29" name="グループ化 16">
              <a:extLst>
                <a:ext uri="{FF2B5EF4-FFF2-40B4-BE49-F238E27FC236}">
                  <a16:creationId xmlns:a16="http://schemas.microsoft.com/office/drawing/2014/main" id="{1F030078-EE00-43F9-9D4B-C4A2F6C2791D}"/>
                </a:ext>
              </a:extLst>
            </p:cNvPr>
            <p:cNvGrpSpPr/>
            <p:nvPr/>
          </p:nvGrpSpPr>
          <p:grpSpPr bwMode="gray">
            <a:xfrm>
              <a:off x="324487" y="2057426"/>
              <a:ext cx="1945319" cy="97488"/>
              <a:chOff x="312738" y="2747963"/>
              <a:chExt cx="1976699" cy="109537"/>
            </a:xfrm>
          </p:grpSpPr>
          <p:sp>
            <p:nvSpPr>
              <p:cNvPr id="31" name="正方形/長方形 42">
                <a:extLst>
                  <a:ext uri="{FF2B5EF4-FFF2-40B4-BE49-F238E27FC236}">
                    <a16:creationId xmlns:a16="http://schemas.microsoft.com/office/drawing/2014/main" id="{893CB3F4-07DF-48C9-91C2-5DCF6D46D60C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1976699" cy="109537"/>
              </a:xfrm>
              <a:prstGeom prst="rect">
                <a:avLst/>
              </a:prstGeom>
              <a:solidFill>
                <a:srgbClr val="FF002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US" altLang="ja-JP" sz="24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3" name="正方形/長方形 43">
                <a:extLst>
                  <a:ext uri="{FF2B5EF4-FFF2-40B4-BE49-F238E27FC236}">
                    <a16:creationId xmlns:a16="http://schemas.microsoft.com/office/drawing/2014/main" id="{CA708C55-4831-4CEB-B7EB-9AC3F6C25ADB}"/>
                  </a:ext>
                </a:extLst>
              </p:cNvPr>
              <p:cNvSpPr/>
              <p:nvPr/>
            </p:nvSpPr>
            <p:spPr bwMode="gray">
              <a:xfrm>
                <a:off x="312738" y="2747963"/>
                <a:ext cx="1077094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US" altLang="ja-JP" sz="24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36" name="Text Placeholder 24">
            <a:extLst>
              <a:ext uri="{FF2B5EF4-FFF2-40B4-BE49-F238E27FC236}">
                <a16:creationId xmlns:a16="http://schemas.microsoft.com/office/drawing/2014/main" id="{7623BCA7-93D5-48F7-86F7-C24F0D39C9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20301" y="3428932"/>
            <a:ext cx="393792" cy="249236"/>
          </a:xfrm>
        </p:spPr>
        <p:txBody>
          <a:bodyPr tIns="0"/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2</a:t>
            </a:r>
            <a:endParaRPr lang="en-GB"/>
          </a:p>
        </p:txBody>
      </p:sp>
      <p:sp>
        <p:nvSpPr>
          <p:cNvPr id="37" name="Text Placeholder 24">
            <a:extLst>
              <a:ext uri="{FF2B5EF4-FFF2-40B4-BE49-F238E27FC236}">
                <a16:creationId xmlns:a16="http://schemas.microsoft.com/office/drawing/2014/main" id="{B786EBCC-6E6B-44EC-A776-7C73802819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20301" y="3829675"/>
            <a:ext cx="393792" cy="249236"/>
          </a:xfrm>
        </p:spPr>
        <p:txBody>
          <a:bodyPr tIns="0"/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3</a:t>
            </a:r>
            <a:endParaRPr lang="en-GB"/>
          </a:p>
        </p:txBody>
      </p:sp>
      <p:sp>
        <p:nvSpPr>
          <p:cNvPr id="38" name="Text Placeholder 24">
            <a:extLst>
              <a:ext uri="{FF2B5EF4-FFF2-40B4-BE49-F238E27FC236}">
                <a16:creationId xmlns:a16="http://schemas.microsoft.com/office/drawing/2014/main" id="{CA5C2C1F-DA5D-4DE6-ACFA-7A05960041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20301" y="4230418"/>
            <a:ext cx="393792" cy="249236"/>
          </a:xfrm>
        </p:spPr>
        <p:txBody>
          <a:bodyPr tIns="0"/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4</a:t>
            </a:r>
            <a:endParaRPr lang="en-GB"/>
          </a:p>
        </p:txBody>
      </p:sp>
      <p:sp>
        <p:nvSpPr>
          <p:cNvPr id="39" name="Text Placeholder 24">
            <a:extLst>
              <a:ext uri="{FF2B5EF4-FFF2-40B4-BE49-F238E27FC236}">
                <a16:creationId xmlns:a16="http://schemas.microsoft.com/office/drawing/2014/main" id="{C973E25B-071F-4386-B562-B5B6B90649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20301" y="4631161"/>
            <a:ext cx="393792" cy="249236"/>
          </a:xfrm>
        </p:spPr>
        <p:txBody>
          <a:bodyPr tIns="0"/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5</a:t>
            </a:r>
            <a:endParaRPr lang="en-GB"/>
          </a:p>
        </p:txBody>
      </p:sp>
      <p:sp>
        <p:nvSpPr>
          <p:cNvPr id="40" name="Text Placeholder 24">
            <a:extLst>
              <a:ext uri="{FF2B5EF4-FFF2-40B4-BE49-F238E27FC236}">
                <a16:creationId xmlns:a16="http://schemas.microsoft.com/office/drawing/2014/main" id="{2D638F59-4781-4E34-8DB1-DF957E2A1B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020301" y="5031904"/>
            <a:ext cx="393792" cy="249236"/>
          </a:xfrm>
        </p:spPr>
        <p:txBody>
          <a:bodyPr tIns="0"/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6</a:t>
            </a:r>
            <a:endParaRPr lang="en-GB"/>
          </a:p>
        </p:txBody>
      </p:sp>
      <p:sp>
        <p:nvSpPr>
          <p:cNvPr id="41" name="Text Placeholder 24">
            <a:extLst>
              <a:ext uri="{FF2B5EF4-FFF2-40B4-BE49-F238E27FC236}">
                <a16:creationId xmlns:a16="http://schemas.microsoft.com/office/drawing/2014/main" id="{A7BB4135-8458-40E3-BA87-C75B803AE0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020301" y="5432647"/>
            <a:ext cx="393792" cy="249236"/>
          </a:xfrm>
        </p:spPr>
        <p:txBody>
          <a:bodyPr tIns="0"/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7</a:t>
            </a:r>
            <a:endParaRPr lang="en-GB"/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id="{C6210C71-78ED-415C-9DC8-AC3CA995C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98908" y="3062693"/>
            <a:ext cx="8203776" cy="3019932"/>
          </a:xfrm>
        </p:spPr>
        <p:txBody>
          <a:bodyPr tIns="0"/>
          <a:lstStyle>
            <a:lvl1pPr marL="457200" marR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2000" b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ample text</a:t>
            </a:r>
          </a:p>
          <a:p>
            <a:r>
              <a:rPr lang="en-US"/>
              <a:t>Sample text</a:t>
            </a:r>
          </a:p>
          <a:p>
            <a:r>
              <a:rPr lang="en-US"/>
              <a:t>Sample text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/>
              <a:t>Sample text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/>
              <a:t>Sample text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/>
              <a:t>Sample text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/>
              <a:t>Sample text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/>
              <a:t>Sample text</a:t>
            </a:r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3" name="Text Placeholder 24">
            <a:extLst>
              <a:ext uri="{FF2B5EF4-FFF2-40B4-BE49-F238E27FC236}">
                <a16:creationId xmlns:a16="http://schemas.microsoft.com/office/drawing/2014/main" id="{58A61B6F-B3BC-4A8D-BD08-5DFDF0468F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020301" y="3028189"/>
            <a:ext cx="393792" cy="249236"/>
          </a:xfrm>
        </p:spPr>
        <p:txBody>
          <a:bodyPr tIns="0"/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44" name="Text Placeholder 24">
            <a:extLst>
              <a:ext uri="{FF2B5EF4-FFF2-40B4-BE49-F238E27FC236}">
                <a16:creationId xmlns:a16="http://schemas.microsoft.com/office/drawing/2014/main" id="{0D99E737-3EEB-47CC-BAB0-AE54FFE8D2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020301" y="5833389"/>
            <a:ext cx="393792" cy="249236"/>
          </a:xfrm>
        </p:spPr>
        <p:txBody>
          <a:bodyPr tIns="0"/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8</a:t>
            </a:r>
            <a:endParaRPr lang="en-GB"/>
          </a:p>
        </p:txBody>
      </p:sp>
      <p:sp>
        <p:nvSpPr>
          <p:cNvPr id="22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80C60511-8432-4230-A45D-38C56C7FACB3}"/>
              </a:ext>
            </a:extLst>
          </p:cNvPr>
          <p:cNvSpPr txBox="1"/>
          <p:nvPr userDrawn="1"/>
        </p:nvSpPr>
        <p:spPr bwMode="gray">
          <a:xfrm>
            <a:off x="777600" y="6543351"/>
            <a:ext cx="24336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23 Hitachi Energy. All rights reserved.</a:t>
            </a:r>
            <a:endParaRPr kumimoji="0" lang="en-GB" sz="900" b="0" i="0" u="none" strike="noStrike" kern="1200" cap="none" spc="-1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4" name="text" descr="{&#10; &quot;SkabelonDesign&quot;: {&#10; &quot;textualValue&quot;: &quot;&lt;key1/&gt;&quot;,&#10; &quot;bindingCollection&quot;: {&#10; &quot;key1&quot;: {&quot;SkabelonDesign&quot;:{&quot;type&quot;:&quot;Text&quot;,&quot;binding&quot;:&quot;SecurityLevel&quot;}}&#10; }&#10; }&#10;}">
            <a:extLst>
              <a:ext uri="{FF2B5EF4-FFF2-40B4-BE49-F238E27FC236}">
                <a16:creationId xmlns:a16="http://schemas.microsoft.com/office/drawing/2014/main" id="{38A0AA6D-DD8B-4E42-862C-7DF76A83992C}"/>
              </a:ext>
            </a:extLst>
          </p:cNvPr>
          <p:cNvSpPr txBox="1"/>
          <p:nvPr userDrawn="1"/>
        </p:nvSpPr>
        <p:spPr bwMode="gray">
          <a:xfrm>
            <a:off x="777600" y="6411600"/>
            <a:ext cx="24336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  <a:endParaRPr kumimoji="0" lang="en-GB" sz="900" b="0" i="0" u="none" strike="noStrike" kern="1200" cap="none" spc="-1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2515BDA8-4677-4B37-BDE2-18E362D22D5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416400" y="6433200"/>
            <a:ext cx="5040000" cy="255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2894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79" y="1325563"/>
            <a:ext cx="2786833" cy="4216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latin typeface="+mn-lt"/>
                <a:cs typeface="Arial" panose="020B0604020202020204" pitchFamily="34" charset="0"/>
              </a:rPr>
              <a:t>PICTURES</a:t>
            </a:r>
            <a:br>
              <a:rPr lang="en-US" sz="900">
                <a:latin typeface="+mn-lt"/>
                <a:cs typeface="Arial" panose="020B0604020202020204" pitchFamily="34" charset="0"/>
              </a:rPr>
            </a:b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US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lick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US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US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altLang="da-DK" sz="9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US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" name="Gruppe 25">
            <a:extLst>
              <a:ext uri="{FF2B5EF4-FFF2-40B4-BE49-F238E27FC236}">
                <a16:creationId xmlns:a16="http://schemas.microsoft.com/office/drawing/2014/main" id="{F3C5118E-1DC4-485F-80E0-9220550843A3}"/>
              </a:ext>
            </a:extLst>
          </p:cNvPr>
          <p:cNvGrpSpPr/>
          <p:nvPr userDrawn="1"/>
        </p:nvGrpSpPr>
        <p:grpSpPr>
          <a:xfrm>
            <a:off x="7254412" y="1593644"/>
            <a:ext cx="676669" cy="997704"/>
            <a:chOff x="7254412" y="1876097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254412" y="1876097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7256228" y="2245312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39752" y="1331193"/>
            <a:ext cx="2280360" cy="4893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latin typeface="+mn-lt"/>
                <a:cs typeface="Arial" panose="020B0604020202020204" pitchFamily="34" charset="0"/>
              </a:rPr>
              <a:t>TEXT STYLES</a:t>
            </a:r>
            <a:endParaRPr lang="en-US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levels. Click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</a:t>
            </a:r>
            <a:b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1600"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US" sz="900" b="1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</a:t>
            </a:r>
            <a:br>
              <a:rPr lang="en-US" sz="900" b="1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US" sz="90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US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859631" y="3040397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860172" y="2317214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7254412" y="2836373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66053" y="4030949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866053" y="5359102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310433" y="3646113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04676" y="1325563"/>
            <a:ext cx="2554662" cy="4431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latin typeface="+mn-lt"/>
                <a:cs typeface="Arial" panose="020B0604020202020204" pitchFamily="34" charset="0"/>
              </a:rPr>
              <a:t>GRIDLIN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latin typeface="+mn-lt"/>
                <a:cs typeface="Arial" panose="020B0604020202020204" pitchFamily="34" charset="0"/>
              </a:rPr>
              <a:t>Click the View tab and set tick mark next to Guid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latin typeface="+mn-lt"/>
                <a:cs typeface="Arial" panose="020B0604020202020204" pitchFamily="34" charset="0"/>
              </a:rPr>
              <a:t>HINT: Alt + F9 for quick view of guid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1600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US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539752" y="448713"/>
            <a:ext cx="11109321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US" sz="32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198" y="283535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866052" y="4794561"/>
            <a:ext cx="475428" cy="176762"/>
          </a:xfrm>
          <a:prstGeom prst="rect">
            <a:avLst/>
          </a:prstGeom>
        </p:spPr>
      </p:pic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1266198" y="1687812"/>
            <a:ext cx="378293" cy="54336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5475283-224A-4A5E-837B-37AEBD3B3B2F}"/>
              </a:ext>
            </a:extLst>
          </p:cNvPr>
          <p:cNvSpPr txBox="1"/>
          <p:nvPr userDrawn="1"/>
        </p:nvSpPr>
        <p:spPr>
          <a:xfrm>
            <a:off x="8329491" y="6476701"/>
            <a:ext cx="3837188" cy="2620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900" cap="all" baseline="0">
                <a:solidFill>
                  <a:srgbClr val="FF0000"/>
                </a:solidFill>
              </a:rPr>
              <a:t>This slide is to be deleted from the final presentation</a:t>
            </a:r>
          </a:p>
        </p:txBody>
      </p:sp>
    </p:spTree>
    <p:extLst>
      <p:ext uri="{BB962C8B-B14F-4D97-AF65-F5344CB8AC3E}">
        <p14:creationId xmlns:p14="http://schemas.microsoft.com/office/powerpoint/2010/main" val="326537167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- copy/pa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539752" y="448713"/>
            <a:ext cx="11109321" cy="92765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2400" b="0" cap="all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pying and pasting slides from old dual brand template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F0B4C4F-D11C-4E6B-8FAE-F70412ED2D1A}"/>
              </a:ext>
            </a:extLst>
          </p:cNvPr>
          <p:cNvSpPr txBox="1"/>
          <p:nvPr userDrawn="1"/>
        </p:nvSpPr>
        <p:spPr>
          <a:xfrm>
            <a:off x="539753" y="2468826"/>
            <a:ext cx="4646080" cy="16619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200" b="1"/>
              <a:t>2.</a:t>
            </a:r>
            <a:r>
              <a:rPr lang="en-US" sz="1200"/>
              <a:t> </a:t>
            </a:r>
            <a:r>
              <a:rPr lang="en-US" sz="1200" b="1"/>
              <a:t>Copy slides:</a:t>
            </a:r>
            <a:br>
              <a:rPr lang="en-US" sz="1200"/>
            </a:br>
            <a:r>
              <a:rPr lang="en-US" sz="1200"/>
              <a:t>Mark the slides you want to copy, right-click and choose Copy – or simply press </a:t>
            </a:r>
            <a:r>
              <a:rPr lang="en-US" sz="1200" b="1"/>
              <a:t>Ctrl+C</a:t>
            </a:r>
            <a:r>
              <a:rPr lang="en-US" sz="1200"/>
              <a:t>.</a:t>
            </a:r>
          </a:p>
          <a:p>
            <a:r>
              <a:rPr lang="en-US" sz="1200"/>
              <a:t>Place the curser where you want to paste your slides in the new presentation, right-click and choose </a:t>
            </a:r>
            <a:r>
              <a:rPr lang="en-US" sz="1200" b="1"/>
              <a:t>Use destination theme (H)</a:t>
            </a:r>
            <a:r>
              <a:rPr lang="en-US" sz="1200"/>
              <a:t>.</a:t>
            </a:r>
          </a:p>
          <a:p>
            <a:endParaRPr lang="en-US" sz="1200"/>
          </a:p>
          <a:p>
            <a:r>
              <a:rPr lang="en-US" sz="1200"/>
              <a:t>Using Keep Source Formatting (K) will leave the copied slides as they were. This can be used if the presentation is non-Hitachi Energy branded.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0F3BEB6B-901B-41BC-83C6-ABA4DE2ED244}"/>
              </a:ext>
            </a:extLst>
          </p:cNvPr>
          <p:cNvGrpSpPr/>
          <p:nvPr userDrawn="1"/>
        </p:nvGrpSpPr>
        <p:grpSpPr>
          <a:xfrm>
            <a:off x="5519301" y="2377562"/>
            <a:ext cx="920748" cy="906583"/>
            <a:chOff x="633081" y="2913045"/>
            <a:chExt cx="1238250" cy="1219200"/>
          </a:xfrm>
        </p:grpSpPr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6EF58DE3-B4D2-4969-8A9A-23638E15BE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33081" y="2913045"/>
              <a:ext cx="1238250" cy="1219200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</p:pic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D52F5083-D4A6-41A5-B3C4-185E1D0CB792}"/>
                </a:ext>
              </a:extLst>
            </p:cNvPr>
            <p:cNvSpPr/>
            <p:nvPr/>
          </p:nvSpPr>
          <p:spPr>
            <a:xfrm>
              <a:off x="970757" y="3231356"/>
              <a:ext cx="304800" cy="304800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EB66E97-974B-4BDE-BDEB-5A270325CDC3}"/>
              </a:ext>
            </a:extLst>
          </p:cNvPr>
          <p:cNvGrpSpPr/>
          <p:nvPr userDrawn="1"/>
        </p:nvGrpSpPr>
        <p:grpSpPr>
          <a:xfrm>
            <a:off x="5519301" y="3429932"/>
            <a:ext cx="830227" cy="931145"/>
            <a:chOff x="2144307" y="3106091"/>
            <a:chExt cx="1365906" cy="1531938"/>
          </a:xfrm>
        </p:grpSpPr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6A18EC7C-FE1B-47A0-A290-B7A6F6B9DE1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1619"/>
            <a:stretch/>
          </p:blipFill>
          <p:spPr>
            <a:xfrm>
              <a:off x="2144592" y="3106091"/>
              <a:ext cx="1365621" cy="1531938"/>
            </a:xfrm>
            <a:prstGeom prst="rect">
              <a:avLst/>
            </a:prstGeom>
          </p:spPr>
        </p:pic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EAEA406E-7EC0-4F67-9FBF-9EF491DEB94F}"/>
                </a:ext>
              </a:extLst>
            </p:cNvPr>
            <p:cNvSpPr/>
            <p:nvPr userDrawn="1"/>
          </p:nvSpPr>
          <p:spPr>
            <a:xfrm>
              <a:off x="2144307" y="3106091"/>
              <a:ext cx="1363526" cy="1531938"/>
            </a:xfrm>
            <a:custGeom>
              <a:avLst/>
              <a:gdLst>
                <a:gd name="connsiteX0" fmla="*/ 710214 w 1504203"/>
                <a:gd name="connsiteY0" fmla="*/ 682764 h 1630297"/>
                <a:gd name="connsiteX1" fmla="*/ 710214 w 1504203"/>
                <a:gd name="connsiteY1" fmla="*/ 1442137 h 1630297"/>
                <a:gd name="connsiteX2" fmla="*/ 1477504 w 1504203"/>
                <a:gd name="connsiteY2" fmla="*/ 1442137 h 1630297"/>
                <a:gd name="connsiteX3" fmla="*/ 1477504 w 1504203"/>
                <a:gd name="connsiteY3" fmla="*/ 682764 h 1630297"/>
                <a:gd name="connsiteX4" fmla="*/ 0 w 1504203"/>
                <a:gd name="connsiteY4" fmla="*/ 0 h 1630297"/>
                <a:gd name="connsiteX5" fmla="*/ 1504203 w 1504203"/>
                <a:gd name="connsiteY5" fmla="*/ 0 h 1630297"/>
                <a:gd name="connsiteX6" fmla="*/ 1504203 w 1504203"/>
                <a:gd name="connsiteY6" fmla="*/ 1630297 h 1630297"/>
                <a:gd name="connsiteX7" fmla="*/ 0 w 1504203"/>
                <a:gd name="connsiteY7" fmla="*/ 1630297 h 1630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04203" h="1630297">
                  <a:moveTo>
                    <a:pt x="710214" y="682764"/>
                  </a:moveTo>
                  <a:lnTo>
                    <a:pt x="710214" y="1442137"/>
                  </a:lnTo>
                  <a:lnTo>
                    <a:pt x="1477504" y="1442137"/>
                  </a:lnTo>
                  <a:lnTo>
                    <a:pt x="1477504" y="682764"/>
                  </a:lnTo>
                  <a:close/>
                  <a:moveTo>
                    <a:pt x="0" y="0"/>
                  </a:moveTo>
                  <a:lnTo>
                    <a:pt x="1504203" y="0"/>
                  </a:lnTo>
                  <a:lnTo>
                    <a:pt x="1504203" y="1630297"/>
                  </a:lnTo>
                  <a:lnTo>
                    <a:pt x="0" y="1630297"/>
                  </a:lnTo>
                  <a:close/>
                </a:path>
              </a:pathLst>
            </a:custGeom>
            <a:solidFill>
              <a:schemeClr val="bg1">
                <a:alpha val="7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36000" rIns="72000" bIns="36000" rtlCol="0" anchor="ctr">
              <a:noAutofit/>
            </a:bodyPr>
            <a:lstStyle/>
            <a:p>
              <a:pPr algn="ctr"/>
              <a:endParaRPr lang="en-GB" sz="2000" noProof="0" err="1"/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687A4A2-D9A8-4577-BC56-0B5D79488DD6}"/>
                </a:ext>
              </a:extLst>
            </p:cNvPr>
            <p:cNvSpPr/>
            <p:nvPr userDrawn="1"/>
          </p:nvSpPr>
          <p:spPr>
            <a:xfrm>
              <a:off x="2796633" y="3736310"/>
              <a:ext cx="711200" cy="713559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err="1"/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C1B78DA5-A67A-4800-8FFB-E07C52F610CE}"/>
              </a:ext>
            </a:extLst>
          </p:cNvPr>
          <p:cNvSpPr txBox="1"/>
          <p:nvPr userDrawn="1"/>
        </p:nvSpPr>
        <p:spPr>
          <a:xfrm>
            <a:off x="8162875" y="1694514"/>
            <a:ext cx="3765600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200"/>
              <a:t>Make </a:t>
            </a:r>
            <a:r>
              <a:rPr lang="en-US" sz="1200">
                <a:solidFill>
                  <a:schemeClr val="tx1"/>
                </a:solidFill>
              </a:rPr>
              <a:t>sure</a:t>
            </a:r>
            <a:r>
              <a:rPr lang="en-US" sz="1200">
                <a:solidFill>
                  <a:schemeClr val="tx2"/>
                </a:solidFill>
              </a:rPr>
              <a:t> page number and footer </a:t>
            </a:r>
            <a:r>
              <a:rPr lang="en-US" sz="1200"/>
              <a:t>are correct. </a:t>
            </a:r>
          </a:p>
          <a:p>
            <a:r>
              <a:rPr lang="en-US" sz="1200"/>
              <a:t>Click on the Reset button.</a:t>
            </a:r>
          </a:p>
          <a:p>
            <a:endParaRPr lang="en-US" sz="1200"/>
          </a:p>
          <a:p>
            <a:r>
              <a:rPr lang="en-US" sz="1200"/>
              <a:t>Then, navigate to Insert &gt; </a:t>
            </a:r>
            <a:r>
              <a:rPr lang="en-US" sz="1200" b="1"/>
              <a:t>Header &amp; Footer</a:t>
            </a:r>
            <a:r>
              <a:rPr lang="en-US" sz="1200"/>
              <a:t>. Remove the check marks and click </a:t>
            </a:r>
            <a:r>
              <a:rPr lang="en-US" sz="1200" b="1"/>
              <a:t>Apply to All</a:t>
            </a:r>
            <a:r>
              <a:rPr lang="en-US" sz="1200"/>
              <a:t>. Go to the menu again, add the check marks and click Apply to All. </a:t>
            </a: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1E0FD5AC-92C6-4284-BA69-A6489C657F8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172862" y="3352364"/>
            <a:ext cx="652420" cy="215676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4FA90C71-53BF-449C-B756-B79A42A1137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081660" y="3352364"/>
            <a:ext cx="1928030" cy="1322769"/>
          </a:xfrm>
          <a:prstGeom prst="rect">
            <a:avLst/>
          </a:prstGeom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11724201-102B-44AB-A41C-A79D8C3F557B}"/>
              </a:ext>
            </a:extLst>
          </p:cNvPr>
          <p:cNvSpPr txBox="1"/>
          <p:nvPr userDrawn="1"/>
        </p:nvSpPr>
        <p:spPr>
          <a:xfrm>
            <a:off x="539753" y="4438398"/>
            <a:ext cx="4756176" cy="16619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200"/>
              <a:t>Next step is to find the </a:t>
            </a:r>
            <a:r>
              <a:rPr lang="en-US" sz="1200" b="1"/>
              <a:t>right layout </a:t>
            </a:r>
            <a:r>
              <a:rPr lang="en-US" sz="1200"/>
              <a:t>in the new presentation. </a:t>
            </a:r>
          </a:p>
          <a:p>
            <a:r>
              <a:rPr lang="en-US" sz="1200"/>
              <a:t>Please right click on the slide and click layout.</a:t>
            </a:r>
          </a:p>
          <a:p>
            <a:endParaRPr lang="en-US" sz="1200"/>
          </a:p>
          <a:p>
            <a:r>
              <a:rPr lang="en-US" sz="1200"/>
              <a:t>If the layout comes after the last Hitachi Energy layout (Do not use layouts after this), choose a layout that is most like the slide you have copied.</a:t>
            </a:r>
          </a:p>
          <a:p>
            <a:endParaRPr lang="en-US" sz="1200"/>
          </a:p>
          <a:p>
            <a:r>
              <a:rPr lang="en-US" sz="1200" i="1"/>
              <a:t>Note: you might have to adjust text to fit the new layout if there is e.g. different amount of placeholders.</a:t>
            </a:r>
            <a:endParaRPr lang="en-US" sz="1200"/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3116C0E4-C1A2-4C02-B8EA-AD665C07A4E4}"/>
              </a:ext>
            </a:extLst>
          </p:cNvPr>
          <p:cNvGrpSpPr/>
          <p:nvPr userDrawn="1"/>
        </p:nvGrpSpPr>
        <p:grpSpPr>
          <a:xfrm>
            <a:off x="5521741" y="4480438"/>
            <a:ext cx="2425309" cy="1864800"/>
            <a:chOff x="4256385" y="1376363"/>
            <a:chExt cx="5336620" cy="4103283"/>
          </a:xfrm>
        </p:grpSpPr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656E3C72-2513-42BC-A870-2D3F2FD67F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256386" y="1376364"/>
              <a:ext cx="5336619" cy="4103282"/>
            </a:xfrm>
            <a:prstGeom prst="rect">
              <a:avLst/>
            </a:prstGeom>
          </p:spPr>
        </p:pic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D9A853A5-8294-40DD-B660-B436764CC5D2}"/>
                </a:ext>
              </a:extLst>
            </p:cNvPr>
            <p:cNvSpPr/>
            <p:nvPr/>
          </p:nvSpPr>
          <p:spPr>
            <a:xfrm>
              <a:off x="4256385" y="1376363"/>
              <a:ext cx="908043" cy="454650"/>
            </a:xfrm>
            <a:prstGeom prst="rect">
              <a:avLst/>
            </a:prstGeom>
            <a:solidFill>
              <a:srgbClr val="FFFFFF">
                <a:alpha val="85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A646FD26-E63E-42D5-A742-D8598E2754EF}"/>
                </a:ext>
              </a:extLst>
            </p:cNvPr>
            <p:cNvSpPr/>
            <p:nvPr/>
          </p:nvSpPr>
          <p:spPr>
            <a:xfrm>
              <a:off x="4256385" y="4375150"/>
              <a:ext cx="908043" cy="1104495"/>
            </a:xfrm>
            <a:prstGeom prst="rect">
              <a:avLst/>
            </a:prstGeom>
            <a:solidFill>
              <a:srgbClr val="FFFFFF">
                <a:alpha val="85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91" name="TextBox 90">
            <a:extLst>
              <a:ext uri="{FF2B5EF4-FFF2-40B4-BE49-F238E27FC236}">
                <a16:creationId xmlns:a16="http://schemas.microsoft.com/office/drawing/2014/main" id="{E41EF83D-861F-43BD-ACDD-70665CF33947}"/>
              </a:ext>
            </a:extLst>
          </p:cNvPr>
          <p:cNvSpPr txBox="1"/>
          <p:nvPr userDrawn="1"/>
        </p:nvSpPr>
        <p:spPr>
          <a:xfrm>
            <a:off x="8172862" y="4992395"/>
            <a:ext cx="3755611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200"/>
              <a:t>Last step is to </a:t>
            </a:r>
            <a:r>
              <a:rPr lang="en-US" sz="1200" b="1"/>
              <a:t>open a clean presentation</a:t>
            </a:r>
            <a:r>
              <a:rPr lang="en-US" sz="1200"/>
              <a:t> – either find it in Templafy or press Ctrl+N.</a:t>
            </a:r>
          </a:p>
          <a:p>
            <a:endParaRPr lang="en-US" sz="1200"/>
          </a:p>
          <a:p>
            <a:r>
              <a:rPr lang="en-US" sz="1200"/>
              <a:t>Please copy all the slides in your presentation and paste them into the empty one. This will ensure that there are no extra layouts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551F8B8-A489-42DC-B2F3-3EFFE26184A4}"/>
              </a:ext>
            </a:extLst>
          </p:cNvPr>
          <p:cNvSpPr txBox="1"/>
          <p:nvPr userDrawn="1"/>
        </p:nvSpPr>
        <p:spPr>
          <a:xfrm>
            <a:off x="539752" y="1345639"/>
            <a:ext cx="4646080" cy="8156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eaLnBrk="1" hangingPunct="1">
              <a:spcAft>
                <a:spcPts val="600"/>
              </a:spcAft>
              <a:defRPr/>
            </a:pPr>
            <a:r>
              <a:rPr lang="en-GB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12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12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12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12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1200" b="1" i="0" u="sng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29D0D2F-C258-4E37-97F1-2B81DF5286A7}"/>
              </a:ext>
            </a:extLst>
          </p:cNvPr>
          <p:cNvSpPr txBox="1"/>
          <p:nvPr userDrawn="1"/>
        </p:nvSpPr>
        <p:spPr>
          <a:xfrm>
            <a:off x="8329491" y="6476701"/>
            <a:ext cx="3837188" cy="2620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900" cap="all" baseline="0">
                <a:solidFill>
                  <a:srgbClr val="FF0000"/>
                </a:solidFill>
              </a:rPr>
              <a:t>This slide is to be deleted from the final presentation</a:t>
            </a:r>
          </a:p>
        </p:txBody>
      </p:sp>
    </p:spTree>
    <p:extLst>
      <p:ext uri="{BB962C8B-B14F-4D97-AF65-F5344CB8AC3E}">
        <p14:creationId xmlns:p14="http://schemas.microsoft.com/office/powerpoint/2010/main" val="269607109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4400" b="0" noProof="0">
                <a:solidFill>
                  <a:schemeClr val="bg1"/>
                </a:solidFill>
              </a:rPr>
              <a:t>If you see any </a:t>
            </a:r>
            <a:r>
              <a:rPr lang="en-US" sz="4400" b="1" i="1" noProof="0">
                <a:solidFill>
                  <a:schemeClr val="bg1"/>
                </a:solidFill>
              </a:rPr>
              <a:t>layouts after this </a:t>
            </a:r>
            <a:r>
              <a:rPr lang="en-US" sz="4400" b="0" i="0" noProof="0">
                <a:solidFill>
                  <a:schemeClr val="bg1"/>
                </a:solidFill>
              </a:rPr>
              <a:t>one</a:t>
            </a:r>
            <a:r>
              <a:rPr lang="en-US" sz="4400" b="1" i="1" noProof="0">
                <a:solidFill>
                  <a:schemeClr val="bg1"/>
                </a:solidFill>
              </a:rPr>
              <a:t>,</a:t>
            </a:r>
            <a:br>
              <a:rPr lang="en-US" sz="4400" b="0" i="0" noProof="0">
                <a:solidFill>
                  <a:schemeClr val="bg1"/>
                </a:solidFill>
              </a:rPr>
            </a:br>
            <a:r>
              <a:rPr lang="en-US" sz="4400" b="0" noProof="0">
                <a:solidFill>
                  <a:schemeClr val="bg1"/>
                </a:solidFill>
              </a:rPr>
              <a:t>do not use them. These layouts </a:t>
            </a:r>
            <a:r>
              <a:rPr lang="en-US" sz="4400" b="1" i="1" u="none" noProof="0">
                <a:solidFill>
                  <a:schemeClr val="bg1"/>
                </a:solidFill>
              </a:rPr>
              <a:t>are not </a:t>
            </a:r>
            <a:r>
              <a:rPr lang="en-US" sz="4400" b="0" noProof="0">
                <a:solidFill>
                  <a:schemeClr val="bg1"/>
                </a:solidFill>
              </a:rPr>
              <a:t>part of our corporate template.</a:t>
            </a:r>
            <a:br>
              <a:rPr lang="en-US" sz="2800" b="0" noProof="0">
                <a:solidFill>
                  <a:schemeClr val="bg1"/>
                </a:solidFill>
              </a:rPr>
            </a:br>
            <a:br>
              <a:rPr lang="en-US" sz="2800" b="0" noProof="0">
                <a:solidFill>
                  <a:schemeClr val="bg1"/>
                </a:solidFill>
              </a:rPr>
            </a:br>
            <a:endParaRPr lang="en-US" sz="2800" b="0" noProof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US" sz="140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800" b="1" i="1" noProof="0">
                <a:solidFill>
                  <a:schemeClr val="bg1"/>
                </a:solidFill>
              </a:rPr>
              <a:t>Do not use </a:t>
            </a:r>
            <a:endParaRPr lang="en-US" sz="2400" b="1" i="1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2000" b="0" noProof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2000" b="0" noProof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US" sz="1800" b="0" noProof="0">
                <a:solidFill>
                  <a:schemeClr val="bg1"/>
                </a:solidFill>
              </a:rPr>
            </a:br>
            <a:endParaRPr lang="en-US" sz="1800" b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600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success 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DEC4303-B6CF-46B0-B379-C819ED7C2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884CF0-B8CC-4411-84B7-2834765247B6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E93AAA9D-96EF-4B45-A168-BE7AE571B3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  <p:sp>
        <p:nvSpPr>
          <p:cNvPr id="7" name="Picture Placeholder 79">
            <a:extLst>
              <a:ext uri="{FF2B5EF4-FFF2-40B4-BE49-F238E27FC236}">
                <a16:creationId xmlns:a16="http://schemas.microsoft.com/office/drawing/2014/main" id="{6A081696-4D15-4A7C-A749-152CA509D17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63524" y="1012826"/>
            <a:ext cx="11663888" cy="3708456"/>
          </a:xfrm>
          <a:custGeom>
            <a:avLst/>
            <a:gdLst>
              <a:gd name="connsiteX0" fmla="*/ 0 w 11663888"/>
              <a:gd name="connsiteY0" fmla="*/ 0 h 3708456"/>
              <a:gd name="connsiteX1" fmla="*/ 7936894 w 11663888"/>
              <a:gd name="connsiteY1" fmla="*/ 0 h 3708456"/>
              <a:gd name="connsiteX2" fmla="*/ 7936894 w 11663888"/>
              <a:gd name="connsiteY2" fmla="*/ 3103947 h 3708456"/>
              <a:gd name="connsiteX3" fmla="*/ 11508808 w 11663888"/>
              <a:gd name="connsiteY3" fmla="*/ 3103947 h 3708456"/>
              <a:gd name="connsiteX4" fmla="*/ 11508808 w 11663888"/>
              <a:gd name="connsiteY4" fmla="*/ 0 h 3708456"/>
              <a:gd name="connsiteX5" fmla="*/ 11663888 w 11663888"/>
              <a:gd name="connsiteY5" fmla="*/ 0 h 3708456"/>
              <a:gd name="connsiteX6" fmla="*/ 11663888 w 11663888"/>
              <a:gd name="connsiteY6" fmla="*/ 3708456 h 3708456"/>
              <a:gd name="connsiteX7" fmla="*/ 11508808 w 11663888"/>
              <a:gd name="connsiteY7" fmla="*/ 3708456 h 3708456"/>
              <a:gd name="connsiteX8" fmla="*/ 11508808 w 11663888"/>
              <a:gd name="connsiteY8" fmla="*/ 3362192 h 3708456"/>
              <a:gd name="connsiteX9" fmla="*/ 7936894 w 11663888"/>
              <a:gd name="connsiteY9" fmla="*/ 3362192 h 3708456"/>
              <a:gd name="connsiteX10" fmla="*/ 7936894 w 11663888"/>
              <a:gd name="connsiteY10" fmla="*/ 3708456 h 3708456"/>
              <a:gd name="connsiteX11" fmla="*/ 7613676 w 11663888"/>
              <a:gd name="connsiteY11" fmla="*/ 3708456 h 3708456"/>
              <a:gd name="connsiteX12" fmla="*/ 7613676 w 11663888"/>
              <a:gd name="connsiteY12" fmla="*/ 3362192 h 3708456"/>
              <a:gd name="connsiteX13" fmla="*/ 4041762 w 11663888"/>
              <a:gd name="connsiteY13" fmla="*/ 3362192 h 3708456"/>
              <a:gd name="connsiteX14" fmla="*/ 4041762 w 11663888"/>
              <a:gd name="connsiteY14" fmla="*/ 3708456 h 3708456"/>
              <a:gd name="connsiteX15" fmla="*/ 3718544 w 11663888"/>
              <a:gd name="connsiteY15" fmla="*/ 3708456 h 3708456"/>
              <a:gd name="connsiteX16" fmla="*/ 3718544 w 11663888"/>
              <a:gd name="connsiteY16" fmla="*/ 3362192 h 3708456"/>
              <a:gd name="connsiteX17" fmla="*/ 146630 w 11663888"/>
              <a:gd name="connsiteY17" fmla="*/ 3362192 h 3708456"/>
              <a:gd name="connsiteX18" fmla="*/ 146630 w 11663888"/>
              <a:gd name="connsiteY18" fmla="*/ 3708456 h 3708456"/>
              <a:gd name="connsiteX19" fmla="*/ 0 w 11663888"/>
              <a:gd name="connsiteY19" fmla="*/ 3708456 h 3708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663888" h="3708456">
                <a:moveTo>
                  <a:pt x="0" y="0"/>
                </a:moveTo>
                <a:lnTo>
                  <a:pt x="7936894" y="0"/>
                </a:lnTo>
                <a:lnTo>
                  <a:pt x="7936894" y="3103947"/>
                </a:lnTo>
                <a:lnTo>
                  <a:pt x="11508808" y="3103947"/>
                </a:lnTo>
                <a:lnTo>
                  <a:pt x="11508808" y="0"/>
                </a:lnTo>
                <a:lnTo>
                  <a:pt x="11663888" y="0"/>
                </a:lnTo>
                <a:lnTo>
                  <a:pt x="11663888" y="3708456"/>
                </a:lnTo>
                <a:lnTo>
                  <a:pt x="11508808" y="3708456"/>
                </a:lnTo>
                <a:lnTo>
                  <a:pt x="11508808" y="3362192"/>
                </a:lnTo>
                <a:lnTo>
                  <a:pt x="7936894" y="3362192"/>
                </a:lnTo>
                <a:lnTo>
                  <a:pt x="7936894" y="3708456"/>
                </a:lnTo>
                <a:lnTo>
                  <a:pt x="7613676" y="3708456"/>
                </a:lnTo>
                <a:lnTo>
                  <a:pt x="7613676" y="3362192"/>
                </a:lnTo>
                <a:lnTo>
                  <a:pt x="4041762" y="3362192"/>
                </a:lnTo>
                <a:lnTo>
                  <a:pt x="4041762" y="3708456"/>
                </a:lnTo>
                <a:lnTo>
                  <a:pt x="3718544" y="3708456"/>
                </a:lnTo>
                <a:lnTo>
                  <a:pt x="3718544" y="3362192"/>
                </a:lnTo>
                <a:lnTo>
                  <a:pt x="146630" y="3362192"/>
                </a:lnTo>
                <a:lnTo>
                  <a:pt x="146630" y="3708456"/>
                </a:lnTo>
                <a:lnTo>
                  <a:pt x="0" y="3708456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Place im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4B5009F-E92F-4880-A0EE-A87B70B60DBD}"/>
              </a:ext>
            </a:extLst>
          </p:cNvPr>
          <p:cNvSpPr txBox="1"/>
          <p:nvPr userDrawn="1"/>
        </p:nvSpPr>
        <p:spPr>
          <a:xfrm>
            <a:off x="410153" y="4375018"/>
            <a:ext cx="3571914" cy="1973585"/>
          </a:xfrm>
          <a:prstGeom prst="rect">
            <a:avLst/>
          </a:prstGeom>
          <a:solidFill>
            <a:srgbClr val="F2F2F2"/>
          </a:solidFill>
        </p:spPr>
        <p:txBody>
          <a:bodyPr wrap="square" lIns="182880" tIns="91440" rIns="18288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lleng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44FEF45-2E94-48C2-BA83-D3254453D771}"/>
              </a:ext>
            </a:extLst>
          </p:cNvPr>
          <p:cNvSpPr txBox="1"/>
          <p:nvPr userDrawn="1"/>
        </p:nvSpPr>
        <p:spPr>
          <a:xfrm>
            <a:off x="4305286" y="4375018"/>
            <a:ext cx="3571914" cy="1973585"/>
          </a:xfrm>
          <a:prstGeom prst="rect">
            <a:avLst/>
          </a:prstGeom>
          <a:solidFill>
            <a:srgbClr val="F2F2F2"/>
          </a:solidFill>
        </p:spPr>
        <p:txBody>
          <a:bodyPr wrap="square" lIns="182880" tIns="91440" rIns="18288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u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1F19346-E3E6-48B5-BE5A-CD05AC28EB44}"/>
              </a:ext>
            </a:extLst>
          </p:cNvPr>
          <p:cNvSpPr txBox="1"/>
          <p:nvPr userDrawn="1"/>
        </p:nvSpPr>
        <p:spPr>
          <a:xfrm>
            <a:off x="8200419" y="4375018"/>
            <a:ext cx="3571914" cy="1973585"/>
          </a:xfrm>
          <a:prstGeom prst="rect">
            <a:avLst/>
          </a:prstGeom>
          <a:solidFill>
            <a:srgbClr val="F2F2F2"/>
          </a:solidFill>
        </p:spPr>
        <p:txBody>
          <a:bodyPr wrap="square" lIns="182880" tIns="91440" rIns="18288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F9952FE-1635-4596-BDAA-240562160106}"/>
              </a:ext>
            </a:extLst>
          </p:cNvPr>
          <p:cNvSpPr/>
          <p:nvPr userDrawn="1"/>
        </p:nvSpPr>
        <p:spPr>
          <a:xfrm>
            <a:off x="8200419" y="1012826"/>
            <a:ext cx="3571914" cy="3127127"/>
          </a:xfrm>
          <a:prstGeom prst="rect">
            <a:avLst/>
          </a:prstGeom>
          <a:solidFill>
            <a:srgbClr val="FF00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1B018B0-DD3B-499F-BFAA-CA6CF8707B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86097" y="1552575"/>
            <a:ext cx="3200558" cy="1658412"/>
          </a:xfrm>
          <a:noFill/>
        </p:spPr>
        <p:txBody>
          <a:bodyPr lIns="0" tIns="0" rIns="0" bIns="0"/>
          <a:lstStyle>
            <a:lvl1pPr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179025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18000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179025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customer quote</a:t>
            </a:r>
            <a:endParaRPr lang="de-DE"/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28A10245-B2E1-4131-8F6A-1EDCB46763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5430" y="4829175"/>
            <a:ext cx="3181360" cy="1519428"/>
          </a:xfrm>
          <a:noFill/>
        </p:spPr>
        <p:txBody>
          <a:bodyPr lIns="0" tIns="0" rIns="0" bIns="91440"/>
          <a:lstStyle>
            <a:lvl1pPr>
              <a:buNone/>
              <a:defRPr sz="1600" b="0"/>
            </a:lvl1pPr>
            <a:lvl2pPr marL="0" indent="0">
              <a:buNone/>
              <a:defRPr sz="1600" b="0"/>
            </a:lvl2pPr>
            <a:lvl3pPr marL="179025" indent="0">
              <a:buNone/>
              <a:defRPr b="0"/>
            </a:lvl3pPr>
            <a:lvl4pPr marL="180000" indent="0">
              <a:buNone/>
              <a:defRPr b="0"/>
            </a:lvl4pPr>
            <a:lvl5pPr marL="179025" indent="0">
              <a:buNone/>
              <a:defRPr b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Click to add the impact</a:t>
            </a:r>
            <a:endParaRPr lang="de-DE"/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Third level</a:t>
            </a:r>
          </a:p>
          <a:p>
            <a:pPr lvl="0"/>
            <a:r>
              <a:rPr lang="en-US"/>
              <a:t>Fourth level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BE96A79A-9ED7-43F2-9C41-F8E7CA8514E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6097" y="3210987"/>
            <a:ext cx="3200558" cy="218011"/>
          </a:xfrm>
          <a:noFill/>
        </p:spPr>
        <p:txBody>
          <a:bodyPr lIns="0" tIns="0" rIns="0" bIns="0"/>
          <a:lstStyle>
            <a:lvl1pPr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2pPr>
            <a:lvl3pPr marL="179025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18000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179025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ustomer Name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A41E533E-77CD-4A4C-9C60-964C29C3FD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86097" y="3469232"/>
            <a:ext cx="3200558" cy="647541"/>
          </a:xfrm>
          <a:noFill/>
        </p:spPr>
        <p:txBody>
          <a:bodyPr lIns="0" tIns="0" rIns="0" bIns="0"/>
          <a:lstStyle>
            <a:lvl1pPr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2pPr>
            <a:lvl3pPr marL="179025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18000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179025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ustomer Title and Company</a:t>
            </a:r>
            <a:endParaRPr lang="en-US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2F993A74-ACFF-4D88-B3DC-B6CFC63F6C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00563" y="4829175"/>
            <a:ext cx="3181360" cy="1519428"/>
          </a:xfrm>
          <a:noFill/>
        </p:spPr>
        <p:txBody>
          <a:bodyPr lIns="0" tIns="0" rIns="0" bIns="91440"/>
          <a:lstStyle>
            <a:lvl1pPr>
              <a:buNone/>
              <a:defRPr sz="1600" b="0"/>
            </a:lvl1pPr>
            <a:lvl2pPr marL="0" indent="0">
              <a:buNone/>
              <a:defRPr sz="1600" b="0"/>
            </a:lvl2pPr>
            <a:lvl3pPr marL="179025" indent="0">
              <a:buNone/>
              <a:defRPr b="0"/>
            </a:lvl3pPr>
            <a:lvl4pPr marL="180000" indent="0">
              <a:buNone/>
              <a:defRPr b="0"/>
            </a:lvl4pPr>
            <a:lvl5pPr marL="179025" indent="0">
              <a:buNone/>
              <a:defRPr b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Click to add the solution</a:t>
            </a:r>
            <a:endParaRPr lang="de-DE"/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Third level</a:t>
            </a:r>
          </a:p>
          <a:p>
            <a:pPr lvl="0"/>
            <a:r>
              <a:rPr lang="en-US"/>
              <a:t>Fourth level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F9F8111E-985B-4F90-B47D-C4F2335AD2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95696" y="4829175"/>
            <a:ext cx="3181360" cy="1519428"/>
          </a:xfrm>
          <a:noFill/>
        </p:spPr>
        <p:txBody>
          <a:bodyPr lIns="0" tIns="0" rIns="0" bIns="91440"/>
          <a:lstStyle>
            <a:lvl1pPr>
              <a:buNone/>
              <a:defRPr sz="1600" b="0"/>
            </a:lvl1pPr>
            <a:lvl2pPr marL="0" indent="0">
              <a:buNone/>
              <a:defRPr sz="1600" b="0"/>
            </a:lvl2pPr>
            <a:lvl3pPr marL="179025" indent="0">
              <a:buNone/>
              <a:defRPr b="0"/>
            </a:lvl3pPr>
            <a:lvl4pPr marL="180000" indent="0">
              <a:buNone/>
              <a:defRPr b="0"/>
            </a:lvl4pPr>
            <a:lvl5pPr marL="179025" indent="0">
              <a:buNone/>
              <a:defRPr b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Click to add the impact</a:t>
            </a:r>
            <a:endParaRPr lang="de-DE"/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Third level</a:t>
            </a:r>
          </a:p>
          <a:p>
            <a:pPr lvl="0"/>
            <a:r>
              <a:rPr lang="en-US"/>
              <a:t>Fourth level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DA2A31D-D544-445B-8E0D-2E4EA8E4BC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6097" y="1208406"/>
            <a:ext cx="416663" cy="277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1765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Red box (1.1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DEC4303-B6CF-46B0-B379-C819ED7C2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5EFDDFA6-A169-418F-B10F-BD5F68A5495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" y="882650"/>
            <a:ext cx="12192000" cy="5462588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E443FC17-BCDF-43B2-ACE2-E95733DC12BE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263525" y="1125538"/>
            <a:ext cx="3672236" cy="4471200"/>
          </a:xfrm>
          <a:solidFill>
            <a:schemeClr val="tx2"/>
          </a:solidFill>
        </p:spPr>
        <p:txBody>
          <a:bodyPr lIns="324000" tIns="252000" rIns="324000" bIns="46800"/>
          <a:lstStyle>
            <a:lvl1pPr>
              <a:lnSpc>
                <a:spcPct val="100000"/>
              </a:lnSpc>
              <a:spcBef>
                <a:spcPts val="600"/>
              </a:spcBef>
              <a:defRPr sz="20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2000" b="1"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884CF0-B8CC-4411-84B7-2834765247B6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E93AAA9D-96EF-4B45-A168-BE7AE571B3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8674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White box (1.1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DEC4303-B6CF-46B0-B379-C819ED7C2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5EFDDFA6-A169-418F-B10F-BD5F68A5495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" y="882650"/>
            <a:ext cx="12192000" cy="5462588"/>
          </a:xfrm>
          <a:noFill/>
        </p:spPr>
        <p:txBody>
          <a:bodyPr tIns="756000" anchor="ctr"/>
          <a:lstStyle>
            <a:lvl1pPr algn="ctr">
              <a:defRPr>
                <a:solidFill>
                  <a:srgbClr val="73737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E443FC17-BCDF-43B2-ACE2-E95733DC12BE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263525" y="1125538"/>
            <a:ext cx="3672236" cy="4471200"/>
          </a:xfrm>
          <a:solidFill>
            <a:schemeClr val="bg1"/>
          </a:solidFill>
        </p:spPr>
        <p:txBody>
          <a:bodyPr lIns="324000" tIns="252000" rIns="324000" bIns="46800"/>
          <a:lstStyle>
            <a:lvl1pPr>
              <a:lnSpc>
                <a:spcPct val="100000"/>
              </a:lnSpc>
              <a:spcBef>
                <a:spcPts val="600"/>
              </a:spcBef>
              <a:defRPr sz="20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2000" b="1"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98C4BE0-712D-49E7-8E1B-985C4FD7131F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83A4D381-A81E-4275-9648-422D63CC26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79058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B857974-89ED-4489-9966-AE9110F9D2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8120"/>
            <a:ext cx="8855276" cy="43400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617D3C-37DD-4293-9541-6E35F5A620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3525" y="1376363"/>
            <a:ext cx="11657546" cy="4968874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8F0C02-0951-4EF2-B93F-6FE591A22B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5236" y="6470788"/>
            <a:ext cx="302400" cy="30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35D3D526-9348-4093-B32C-CDB50CF9A0CD}"/>
              </a:ext>
            </a:extLst>
          </p:cNvPr>
          <p:cNvGrpSpPr/>
          <p:nvPr userDrawn="1"/>
        </p:nvGrpSpPr>
        <p:grpSpPr>
          <a:xfrm>
            <a:off x="-3" y="794367"/>
            <a:ext cx="12192003" cy="88389"/>
            <a:chOff x="-3" y="794367"/>
            <a:chExt cx="12192003" cy="88389"/>
          </a:xfrm>
        </p:grpSpPr>
        <p:sp>
          <p:nvSpPr>
            <p:cNvPr id="9" name="正方形/長方形 11">
              <a:extLst>
                <a:ext uri="{FF2B5EF4-FFF2-40B4-BE49-F238E27FC236}">
                  <a16:creationId xmlns:a16="http://schemas.microsoft.com/office/drawing/2014/main" id="{1E48A1FD-7CC4-46D8-A2E1-6F03829DD1A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0" y="794367"/>
              <a:ext cx="12192000" cy="88389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 altLang="ja-JP" sz="4623"/>
            </a:p>
          </p:txBody>
        </p:sp>
        <p:grpSp>
          <p:nvGrpSpPr>
            <p:cNvPr id="4" name="グループ化 62">
              <a:extLst>
                <a:ext uri="{FF2B5EF4-FFF2-40B4-BE49-F238E27FC236}">
                  <a16:creationId xmlns:a16="http://schemas.microsoft.com/office/drawing/2014/main" id="{FB718612-AF5B-443E-AA3F-204A104F4A23}"/>
                </a:ext>
              </a:extLst>
            </p:cNvPr>
            <p:cNvGrpSpPr/>
            <p:nvPr userDrawn="1"/>
          </p:nvGrpSpPr>
          <p:grpSpPr>
            <a:xfrm>
              <a:off x="-3" y="794367"/>
              <a:ext cx="1757857" cy="88389"/>
              <a:chOff x="-3" y="794367"/>
              <a:chExt cx="1757857" cy="88389"/>
            </a:xfrm>
          </p:grpSpPr>
          <p:sp>
            <p:nvSpPr>
              <p:cNvPr id="11" name="正方形/長方形 69">
                <a:extLst>
                  <a:ext uri="{FF2B5EF4-FFF2-40B4-BE49-F238E27FC236}">
                    <a16:creationId xmlns:a16="http://schemas.microsoft.com/office/drawing/2014/main" id="{9A85BBEC-5D35-4BF5-AE00-6E8C440A4B0F}"/>
                  </a:ext>
                </a:extLst>
              </p:cNvPr>
              <p:cNvSpPr/>
              <p:nvPr/>
            </p:nvSpPr>
            <p:spPr bwMode="gray">
              <a:xfrm>
                <a:off x="-3" y="794367"/>
                <a:ext cx="1757857" cy="88389"/>
              </a:xfrm>
              <a:prstGeom prst="rect">
                <a:avLst/>
              </a:prstGeom>
              <a:solidFill>
                <a:srgbClr val="FF002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US" altLang="ja-JP" sz="24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2" name="正方形/長方形 70">
                <a:extLst>
                  <a:ext uri="{FF2B5EF4-FFF2-40B4-BE49-F238E27FC236}">
                    <a16:creationId xmlns:a16="http://schemas.microsoft.com/office/drawing/2014/main" id="{6E132C21-2E20-429A-B4D8-7A0170B79AFF}"/>
                  </a:ext>
                </a:extLst>
              </p:cNvPr>
              <p:cNvSpPr/>
              <p:nvPr/>
            </p:nvSpPr>
            <p:spPr bwMode="gray">
              <a:xfrm>
                <a:off x="-3" y="794367"/>
                <a:ext cx="879637" cy="88389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US" altLang="ja-JP" sz="24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5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A1096FB2-55CC-4081-8128-E81939554EB4}"/>
              </a:ext>
            </a:extLst>
          </p:cNvPr>
          <p:cNvSpPr txBox="1"/>
          <p:nvPr userDrawn="1"/>
        </p:nvSpPr>
        <p:spPr bwMode="gray">
          <a:xfrm>
            <a:off x="777600" y="6543351"/>
            <a:ext cx="24336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23 Hitachi Energy. All rights reserved.</a:t>
            </a:r>
            <a:endParaRPr kumimoji="0" lang="en-GB" sz="900" b="0" i="0" u="none" strike="noStrike" kern="1200" cap="none" spc="-1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FB88921-A82A-4247-8321-A98985FF905A}"/>
              </a:ext>
            </a:extLst>
          </p:cNvPr>
          <p:cNvPicPr>
            <a:picLocks noChangeAspect="1"/>
          </p:cNvPicPr>
          <p:nvPr userDrawn="1"/>
        </p:nvPicPr>
        <p:blipFill>
          <a:blip r:embed="rId6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9200" y="187200"/>
            <a:ext cx="1590204" cy="4536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8C0378C-3723-4D68-A0A0-CAF43876A10F}"/>
              </a:ext>
            </a:extLst>
          </p:cNvPr>
          <p:cNvPicPr>
            <a:picLocks noChangeAspect="1"/>
          </p:cNvPicPr>
          <p:nvPr userDrawn="1"/>
        </p:nvPicPr>
        <p:blipFill>
          <a:blip r:embed="rId6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2400" y="6462000"/>
            <a:ext cx="1810800" cy="250551"/>
          </a:xfrm>
          <a:prstGeom prst="rect">
            <a:avLst/>
          </a:prstGeom>
        </p:spPr>
      </p:pic>
      <p:sp>
        <p:nvSpPr>
          <p:cNvPr id="14" name="text" descr="{&#10; &quot;SkabelonDesign&quot;: {&#10; &quot;textualValue&quot;: &quot;&lt;key1/&gt;&quot;,&#10; &quot;bindingCollection&quot;: {&#10; &quot;key1&quot;: {&quot;SkabelonDesign&quot;:{&quot;type&quot;:&quot;Text&quot;,&quot;binding&quot;:&quot;SecurityLevel&quot;}}&#10; }&#10; }&#10;}">
            <a:extLst>
              <a:ext uri="{FF2B5EF4-FFF2-40B4-BE49-F238E27FC236}">
                <a16:creationId xmlns:a16="http://schemas.microsoft.com/office/drawing/2014/main" id="{0A2DA7D7-5D66-4B1B-AC7A-77551DFCC007}"/>
              </a:ext>
            </a:extLst>
          </p:cNvPr>
          <p:cNvSpPr txBox="1"/>
          <p:nvPr userDrawn="1"/>
        </p:nvSpPr>
        <p:spPr bwMode="gray">
          <a:xfrm>
            <a:off x="777600" y="6411600"/>
            <a:ext cx="24336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900" b="0" i="0" u="none" strike="noStrike" kern="1200" cap="none" spc="-1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  <a:endParaRPr kumimoji="0" lang="en-GB" sz="900" b="0" i="0" u="none" strike="noStrike" kern="1200" cap="none" spc="-1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9F002FA9-794F-4A44-8CDC-77FBE41D3A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9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5938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8" r:id="rId2"/>
    <p:sldLayoutId id="2147483747" r:id="rId3"/>
    <p:sldLayoutId id="2147483744" r:id="rId4"/>
    <p:sldLayoutId id="2147483665" r:id="rId5"/>
    <p:sldLayoutId id="2147483663" r:id="rId6"/>
    <p:sldLayoutId id="2147483749" r:id="rId7"/>
    <p:sldLayoutId id="2147483699" r:id="rId8"/>
    <p:sldLayoutId id="2147483717" r:id="rId9"/>
    <p:sldLayoutId id="2147483711" r:id="rId10"/>
    <p:sldLayoutId id="2147483718" r:id="rId11"/>
    <p:sldLayoutId id="2147483712" r:id="rId12"/>
    <p:sldLayoutId id="2147483719" r:id="rId13"/>
    <p:sldLayoutId id="2147483700" r:id="rId14"/>
    <p:sldLayoutId id="2147483720" r:id="rId15"/>
    <p:sldLayoutId id="2147483721" r:id="rId16"/>
    <p:sldLayoutId id="2147483722" r:id="rId17"/>
    <p:sldLayoutId id="2147483723" r:id="rId18"/>
    <p:sldLayoutId id="2147483724" r:id="rId19"/>
    <p:sldLayoutId id="2147483725" r:id="rId20"/>
    <p:sldLayoutId id="2147483726" r:id="rId21"/>
    <p:sldLayoutId id="2147483695" r:id="rId22"/>
    <p:sldLayoutId id="2147483693" r:id="rId23"/>
    <p:sldLayoutId id="2147483694" r:id="rId24"/>
    <p:sldLayoutId id="2147483690" r:id="rId25"/>
    <p:sldLayoutId id="2147483691" r:id="rId26"/>
    <p:sldLayoutId id="2147483701" r:id="rId27"/>
    <p:sldLayoutId id="2147483702" r:id="rId28"/>
    <p:sldLayoutId id="2147483728" r:id="rId29"/>
    <p:sldLayoutId id="2147483729" r:id="rId30"/>
    <p:sldLayoutId id="2147483686" r:id="rId31"/>
    <p:sldLayoutId id="2147483687" r:id="rId32"/>
    <p:sldLayoutId id="2147483730" r:id="rId33"/>
    <p:sldLayoutId id="2147483671" r:id="rId34"/>
    <p:sldLayoutId id="2147483672" r:id="rId35"/>
    <p:sldLayoutId id="2147483731" r:id="rId36"/>
    <p:sldLayoutId id="2147483696" r:id="rId37"/>
    <p:sldLayoutId id="2147483697" r:id="rId38"/>
    <p:sldLayoutId id="2147483713" r:id="rId39"/>
    <p:sldLayoutId id="2147483708" r:id="rId40"/>
    <p:sldLayoutId id="2147483650" r:id="rId41"/>
    <p:sldLayoutId id="2147483666" r:id="rId42"/>
    <p:sldLayoutId id="2147483732" r:id="rId43"/>
    <p:sldLayoutId id="2147483685" r:id="rId44"/>
    <p:sldLayoutId id="2147483709" r:id="rId45"/>
    <p:sldLayoutId id="2147483733" r:id="rId46"/>
    <p:sldLayoutId id="2147483667" r:id="rId47"/>
    <p:sldLayoutId id="2147483668" r:id="rId48"/>
    <p:sldLayoutId id="2147483734" r:id="rId49"/>
    <p:sldLayoutId id="2147483675" r:id="rId50"/>
    <p:sldLayoutId id="2147483676" r:id="rId51"/>
    <p:sldLayoutId id="2147483681" r:id="rId52"/>
    <p:sldLayoutId id="2147483684" r:id="rId53"/>
    <p:sldLayoutId id="2147483688" r:id="rId54"/>
    <p:sldLayoutId id="2147483689" r:id="rId55"/>
    <p:sldLayoutId id="2147483698" r:id="rId56"/>
    <p:sldLayoutId id="2147483710" r:id="rId57"/>
    <p:sldLayoutId id="2147483740" r:id="rId58"/>
    <p:sldLayoutId id="2147483704" r:id="rId59"/>
    <p:sldLayoutId id="2147483714" r:id="rId60"/>
    <p:sldLayoutId id="2147483739" r:id="rId61"/>
    <p:sldLayoutId id="2147483715" r:id="rId62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​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2000" algn="l" defTabSz="3175" rtl="0" eaLnBrk="1" latinLnBrk="0" hangingPunct="1">
        <a:defRPr sz="1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175" algn="l" defTabSz="3175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3175" algn="l" defTabSz="3175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175" algn="l" defTabSz="3175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3175" algn="l" defTabSz="3175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3175" algn="l" defTabSz="3175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5" algn="l" defTabSz="3175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3175" algn="l" defTabSz="3175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3175" algn="l" defTabSz="3175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66" userDrawn="1">
          <p15:clr>
            <a:srgbClr val="F26B43"/>
          </p15:clr>
        </p15:guide>
        <p15:guide id="2" pos="7514" userDrawn="1">
          <p15:clr>
            <a:srgbClr val="F26B43"/>
          </p15:clr>
        </p15:guide>
        <p15:guide id="3" orient="horz" pos="709" userDrawn="1">
          <p15:clr>
            <a:srgbClr val="F26B43"/>
          </p15:clr>
        </p15:guide>
        <p15:guide id="4" orient="horz" pos="3997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orient="horz" pos="2364" userDrawn="1">
          <p15:clr>
            <a:srgbClr val="F26B43"/>
          </p15:clr>
        </p15:guide>
        <p15:guide id="7" orient="horz" pos="1321" userDrawn="1">
          <p15:clr>
            <a:srgbClr val="A4A3A4"/>
          </p15:clr>
        </p15:guide>
        <p15:guide id="8" orient="horz" pos="86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12" Type="http://schemas.openxmlformats.org/officeDocument/2006/relationships/image" Target="../media/image9.svg"/><Relationship Id="rId2" Type="http://schemas.openxmlformats.org/officeDocument/2006/relationships/customXml" Target="../../customXml/item22.xml"/><Relationship Id="rId1" Type="http://schemas.openxmlformats.org/officeDocument/2006/relationships/customXml" Target="../../customXml/item21.xml"/><Relationship Id="rId6" Type="http://schemas.openxmlformats.org/officeDocument/2006/relationships/image" Target="../media/image36.png"/><Relationship Id="rId11" Type="http://schemas.openxmlformats.org/officeDocument/2006/relationships/image" Target="../media/image8.png"/><Relationship Id="rId5" Type="http://schemas.openxmlformats.org/officeDocument/2006/relationships/image" Target="../media/image35.png"/><Relationship Id="rId10" Type="http://schemas.openxmlformats.org/officeDocument/2006/relationships/image" Target="../media/image7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5.jpeg"/><Relationship Id="rId5" Type="http://schemas.openxmlformats.org/officeDocument/2006/relationships/image" Target="../media/image84.jpeg"/><Relationship Id="rId4" Type="http://schemas.openxmlformats.org/officeDocument/2006/relationships/image" Target="../media/image8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2" Type="http://schemas.openxmlformats.org/officeDocument/2006/relationships/customXml" Target="../../customXml/item24.xml"/><Relationship Id="rId1" Type="http://schemas.openxmlformats.org/officeDocument/2006/relationships/customXml" Target="../../customXml/item23.xml"/><Relationship Id="rId4" Type="http://schemas.openxmlformats.org/officeDocument/2006/relationships/notesSlide" Target="../notesSlides/notesSlide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43.png"/><Relationship Id="rId18" Type="http://schemas.openxmlformats.org/officeDocument/2006/relationships/image" Target="../media/image48.sv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43.xml"/><Relationship Id="rId12" Type="http://schemas.openxmlformats.org/officeDocument/2006/relationships/image" Target="../media/image42.svg"/><Relationship Id="rId17" Type="http://schemas.openxmlformats.org/officeDocument/2006/relationships/image" Target="../media/image47.png"/><Relationship Id="rId2" Type="http://schemas.openxmlformats.org/officeDocument/2006/relationships/tags" Target="../tags/tag2.xml"/><Relationship Id="rId16" Type="http://schemas.openxmlformats.org/officeDocument/2006/relationships/image" Target="../media/image46.svg"/><Relationship Id="rId20" Type="http://schemas.openxmlformats.org/officeDocument/2006/relationships/image" Target="../media/image50.sv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41.png"/><Relationship Id="rId5" Type="http://schemas.openxmlformats.org/officeDocument/2006/relationships/tags" Target="../tags/tag5.xml"/><Relationship Id="rId15" Type="http://schemas.openxmlformats.org/officeDocument/2006/relationships/image" Target="../media/image45.png"/><Relationship Id="rId10" Type="http://schemas.openxmlformats.org/officeDocument/2006/relationships/image" Target="../media/image40.emf"/><Relationship Id="rId19" Type="http://schemas.openxmlformats.org/officeDocument/2006/relationships/image" Target="../media/image49.png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Relationship Id="rId14" Type="http://schemas.openxmlformats.org/officeDocument/2006/relationships/image" Target="../media/image44.sv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3.png"/><Relationship Id="rId18" Type="http://schemas.openxmlformats.org/officeDocument/2006/relationships/image" Target="../media/image58.svg"/><Relationship Id="rId26" Type="http://schemas.openxmlformats.org/officeDocument/2006/relationships/image" Target="../media/image66.svg"/><Relationship Id="rId3" Type="http://schemas.openxmlformats.org/officeDocument/2006/relationships/tags" Target="../tags/tag9.xml"/><Relationship Id="rId21" Type="http://schemas.openxmlformats.org/officeDocument/2006/relationships/image" Target="../media/image61.png"/><Relationship Id="rId34" Type="http://schemas.openxmlformats.org/officeDocument/2006/relationships/image" Target="../media/image74.svg"/><Relationship Id="rId7" Type="http://schemas.openxmlformats.org/officeDocument/2006/relationships/tags" Target="../tags/tag13.xml"/><Relationship Id="rId12" Type="http://schemas.openxmlformats.org/officeDocument/2006/relationships/image" Target="../media/image52.svg"/><Relationship Id="rId17" Type="http://schemas.openxmlformats.org/officeDocument/2006/relationships/image" Target="../media/image57.png"/><Relationship Id="rId25" Type="http://schemas.openxmlformats.org/officeDocument/2006/relationships/image" Target="../media/image65.png"/><Relationship Id="rId33" Type="http://schemas.openxmlformats.org/officeDocument/2006/relationships/image" Target="../media/image73.png"/><Relationship Id="rId2" Type="http://schemas.openxmlformats.org/officeDocument/2006/relationships/tags" Target="../tags/tag8.xml"/><Relationship Id="rId16" Type="http://schemas.openxmlformats.org/officeDocument/2006/relationships/image" Target="../media/image56.svg"/><Relationship Id="rId20" Type="http://schemas.openxmlformats.org/officeDocument/2006/relationships/image" Target="../media/image60.svg"/><Relationship Id="rId29" Type="http://schemas.openxmlformats.org/officeDocument/2006/relationships/image" Target="../media/image69.png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image" Target="../media/image51.png"/><Relationship Id="rId24" Type="http://schemas.openxmlformats.org/officeDocument/2006/relationships/image" Target="../media/image64.svg"/><Relationship Id="rId32" Type="http://schemas.openxmlformats.org/officeDocument/2006/relationships/image" Target="../media/image72.svg"/><Relationship Id="rId5" Type="http://schemas.openxmlformats.org/officeDocument/2006/relationships/tags" Target="../tags/tag11.xml"/><Relationship Id="rId15" Type="http://schemas.openxmlformats.org/officeDocument/2006/relationships/image" Target="../media/image55.png"/><Relationship Id="rId23" Type="http://schemas.openxmlformats.org/officeDocument/2006/relationships/image" Target="../media/image63.png"/><Relationship Id="rId28" Type="http://schemas.openxmlformats.org/officeDocument/2006/relationships/image" Target="../media/image68.svg"/><Relationship Id="rId36" Type="http://schemas.openxmlformats.org/officeDocument/2006/relationships/image" Target="../media/image76.svg"/><Relationship Id="rId10" Type="http://schemas.openxmlformats.org/officeDocument/2006/relationships/slideLayout" Target="../slideLayouts/slideLayout41.xml"/><Relationship Id="rId19" Type="http://schemas.openxmlformats.org/officeDocument/2006/relationships/image" Target="../media/image59.png"/><Relationship Id="rId31" Type="http://schemas.openxmlformats.org/officeDocument/2006/relationships/image" Target="../media/image71.pn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image" Target="../media/image54.svg"/><Relationship Id="rId22" Type="http://schemas.openxmlformats.org/officeDocument/2006/relationships/image" Target="../media/image62.svg"/><Relationship Id="rId27" Type="http://schemas.openxmlformats.org/officeDocument/2006/relationships/image" Target="../media/image67.png"/><Relationship Id="rId30" Type="http://schemas.openxmlformats.org/officeDocument/2006/relationships/image" Target="../media/image70.svg"/><Relationship Id="rId35" Type="http://schemas.openxmlformats.org/officeDocument/2006/relationships/image" Target="../media/image75.png"/><Relationship Id="rId8" Type="http://schemas.openxmlformats.org/officeDocument/2006/relationships/tags" Target="../tags/tag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09BEB5C5-23E2-4363-B393-D90DEFFE6ECD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62" r="13378" b="35391"/>
          <a:stretch/>
        </p:blipFill>
        <p:spPr>
          <a:xfrm>
            <a:off x="8" y="4"/>
            <a:ext cx="12193196" cy="4738686"/>
          </a:xfr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1B1CDA-51EE-494A-A643-2AB79D8C81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A6214E-171D-4884-8716-A4BBA31965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4EC536-6FE3-4540-8D85-74C58F0BF697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C0D4F24-9B92-457F-A8B6-4A24FE8ACF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DK" dirty="0"/>
              <a:t>2023-0</a:t>
            </a:r>
            <a:r>
              <a:rPr lang="fr-FR" dirty="0"/>
              <a:t>3</a:t>
            </a:r>
            <a:r>
              <a:rPr lang="en-DK" dirty="0"/>
              <a:t>-</a:t>
            </a:r>
            <a:r>
              <a:rPr lang="fr-FR" dirty="0"/>
              <a:t>09</a:t>
            </a:r>
            <a:endParaRPr lang="en-DK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252039F-651A-441D-95E3-A845A0A001E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Hydrogen Solutions</a:t>
            </a:r>
            <a:br>
              <a:rPr lang="en-US" dirty="0"/>
            </a:br>
            <a:r>
              <a:rPr lang="en-US" dirty="0"/>
              <a:t>Martin Frödin</a:t>
            </a:r>
            <a:endParaRPr lang="en-DK" dirty="0"/>
          </a:p>
        </p:txBody>
      </p:sp>
      <p:pic>
        <p:nvPicPr>
          <p:cNvPr id="7" name="Picture 13">
            <a:extLst>
              <a:ext uri="{FF2B5EF4-FFF2-40B4-BE49-F238E27FC236}">
                <a16:creationId xmlns:a16="http://schemas.microsoft.com/office/drawing/2014/main" id="{625B07BC-C2E5-7125-5E31-04866786B96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838" t="1533" b="27653"/>
          <a:stretch/>
        </p:blipFill>
        <p:spPr>
          <a:xfrm>
            <a:off x="0" y="0"/>
            <a:ext cx="7183598" cy="3635022"/>
          </a:xfrm>
          <a:prstGeom prst="rect">
            <a:avLst/>
          </a:prstGeom>
        </p:spPr>
      </p:pic>
      <p:pic>
        <p:nvPicPr>
          <p:cNvPr id="2" name="Confidential" hidden="1">
            <a:extLst>
              <a:ext uri="{FF2B5EF4-FFF2-40B4-BE49-F238E27FC236}">
                <a16:creationId xmlns:a16="http://schemas.microsoft.com/office/drawing/2014/main" id="{795DC088-3E34-ED77-2759-89A53AA9DA4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7200" y="345600"/>
            <a:ext cx="1671890" cy="266400"/>
          </a:xfrm>
          <a:prstGeom prst="rect">
            <a:avLst/>
          </a:prstGeom>
        </p:spPr>
      </p:pic>
      <p:pic>
        <p:nvPicPr>
          <p:cNvPr id="6" name="Public">
            <a:extLst>
              <a:ext uri="{FF2B5EF4-FFF2-40B4-BE49-F238E27FC236}">
                <a16:creationId xmlns:a16="http://schemas.microsoft.com/office/drawing/2014/main" id="{28C564D0-B1AB-F0F7-497B-07B832D770E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5718" y="345600"/>
            <a:ext cx="1671890" cy="266400"/>
          </a:xfrm>
          <a:prstGeom prst="rect">
            <a:avLst/>
          </a:prstGeom>
        </p:spPr>
      </p:pic>
      <p:pic>
        <p:nvPicPr>
          <p:cNvPr id="9" name="Internal" hidden="1">
            <a:extLst>
              <a:ext uri="{FF2B5EF4-FFF2-40B4-BE49-F238E27FC236}">
                <a16:creationId xmlns:a16="http://schemas.microsoft.com/office/drawing/2014/main" id="{2352F7FD-075D-D3D0-D783-7685291D39BF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75718" y="344152"/>
            <a:ext cx="1671890" cy="266400"/>
          </a:xfrm>
          <a:prstGeom prst="rect">
            <a:avLst/>
          </a:prstGeom>
        </p:spPr>
      </p:pic>
      <p:pic>
        <p:nvPicPr>
          <p:cNvPr id="10" name="Strictly" hidden="1">
            <a:extLst>
              <a:ext uri="{FF2B5EF4-FFF2-40B4-BE49-F238E27FC236}">
                <a16:creationId xmlns:a16="http://schemas.microsoft.com/office/drawing/2014/main" id="{BC5BC242-F572-F480-F633-279EFA3D80F2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61960" y="345600"/>
            <a:ext cx="1671890" cy="26640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8604011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6">
            <a:extLst>
              <a:ext uri="{FF2B5EF4-FFF2-40B4-BE49-F238E27FC236}">
                <a16:creationId xmlns:a16="http://schemas.microsoft.com/office/drawing/2014/main" id="{E553C7F4-8829-4CA6-8B80-EA55DAD82E93}"/>
              </a:ext>
            </a:extLst>
          </p:cNvPr>
          <p:cNvSpPr txBox="1">
            <a:spLocks/>
          </p:cNvSpPr>
          <p:nvPr/>
        </p:nvSpPr>
        <p:spPr bwMode="gray">
          <a:xfrm>
            <a:off x="2603521" y="4468889"/>
            <a:ext cx="9317102" cy="1476000"/>
          </a:xfrm>
          <a:prstGeom prst="rect">
            <a:avLst/>
          </a:prstGeom>
          <a:solidFill>
            <a:srgbClr val="B3B3B3">
              <a:alpha val="10000"/>
            </a:srgbClr>
          </a:solidFill>
        </p:spPr>
        <p:txBody>
          <a:bodyPr vert="horz" lIns="108000" tIns="108000" rIns="10800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2BCAD690-4D8A-4A96-BBA9-EB3FBC0FB8D0}"/>
              </a:ext>
            </a:extLst>
          </p:cNvPr>
          <p:cNvSpPr txBox="1">
            <a:spLocks/>
          </p:cNvSpPr>
          <p:nvPr/>
        </p:nvSpPr>
        <p:spPr bwMode="gray">
          <a:xfrm>
            <a:off x="2600052" y="1516331"/>
            <a:ext cx="9320571" cy="1476000"/>
          </a:xfrm>
          <a:prstGeom prst="rect">
            <a:avLst/>
          </a:prstGeom>
          <a:solidFill>
            <a:schemeClr val="tx2">
              <a:alpha val="10000"/>
            </a:schemeClr>
          </a:solidFill>
        </p:spPr>
        <p:txBody>
          <a:bodyPr vert="horz" lIns="108000" tIns="108000" rIns="10800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5" name="Text Placeholder 25">
            <a:extLst>
              <a:ext uri="{FF2B5EF4-FFF2-40B4-BE49-F238E27FC236}">
                <a16:creationId xmlns:a16="http://schemas.microsoft.com/office/drawing/2014/main" id="{F8D95CBA-3630-4DBC-B6EE-09050EC1653D}"/>
              </a:ext>
            </a:extLst>
          </p:cNvPr>
          <p:cNvSpPr txBox="1">
            <a:spLocks/>
          </p:cNvSpPr>
          <p:nvPr/>
        </p:nvSpPr>
        <p:spPr bwMode="gray">
          <a:xfrm>
            <a:off x="2603521" y="2991992"/>
            <a:ext cx="9317102" cy="1476000"/>
          </a:xfrm>
          <a:prstGeom prst="rect">
            <a:avLst/>
          </a:prstGeom>
          <a:solidFill>
            <a:srgbClr val="4D4D4D">
              <a:alpha val="10000"/>
            </a:srgbClr>
          </a:solidFill>
        </p:spPr>
        <p:txBody>
          <a:bodyPr vert="horz" lIns="108000" tIns="108000" rIns="10800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D673EE-0BC4-4187-9CB3-4A5BE713B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HyFlex</a:t>
            </a:r>
            <a:r>
              <a:rPr lang="de-CH" dirty="0"/>
              <a:t> </a:t>
            </a:r>
            <a:r>
              <a:rPr lang="de-CH" dirty="0" err="1"/>
              <a:t>applications</a:t>
            </a:r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3BDB724-505A-4A38-8027-ACA3CD93AA69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>
          <a:xfrm>
            <a:off x="3416400" y="6456496"/>
            <a:ext cx="6688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b="1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71B120E8-E7DF-4C48-AA1B-9B1AB2C7D5FC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8" name="Text Placeholder 26">
            <a:extLst>
              <a:ext uri="{FF2B5EF4-FFF2-40B4-BE49-F238E27FC236}">
                <a16:creationId xmlns:a16="http://schemas.microsoft.com/office/drawing/2014/main" id="{51699F56-4492-4DA7-82DD-1A35E5AB0A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63524" y="4468889"/>
            <a:ext cx="2340000" cy="1476000"/>
          </a:xfrm>
        </p:spPr>
        <p:txBody>
          <a:bodyPr bIns="108000" anchor="b"/>
          <a:lstStyle/>
          <a:p>
            <a:pPr algn="ctr"/>
            <a:r>
              <a:rPr lang="de-CH" b="1" dirty="0"/>
              <a:t>Continuous</a:t>
            </a:r>
          </a:p>
          <a:p>
            <a:pPr algn="ctr"/>
            <a:endParaRPr lang="de-CH" dirty="0"/>
          </a:p>
          <a:p>
            <a:pPr algn="ctr"/>
            <a:r>
              <a:rPr lang="de-CH" dirty="0"/>
              <a:t>&gt; 90% utilization</a:t>
            </a:r>
            <a:endParaRPr lang="en-US" dirty="0"/>
          </a:p>
          <a:p>
            <a:endParaRPr lang="en-US" dirty="0"/>
          </a:p>
        </p:txBody>
      </p:sp>
      <p:sp>
        <p:nvSpPr>
          <p:cNvPr id="39" name="Text Placeholder 24">
            <a:extLst>
              <a:ext uri="{FF2B5EF4-FFF2-40B4-BE49-F238E27FC236}">
                <a16:creationId xmlns:a16="http://schemas.microsoft.com/office/drawing/2014/main" id="{2F06A409-FFD3-48DE-B960-C28444C12A8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3524" y="1517566"/>
            <a:ext cx="2340000" cy="1476000"/>
          </a:xfrm>
        </p:spPr>
        <p:txBody>
          <a:bodyPr bIns="108000" anchor="ctr"/>
          <a:lstStyle/>
          <a:p>
            <a:pPr algn="ctr"/>
            <a:r>
              <a:rPr lang="de-CH" b="1" dirty="0"/>
              <a:t>Backup</a:t>
            </a:r>
          </a:p>
          <a:p>
            <a:pPr algn="ctr"/>
            <a:endParaRPr lang="de-CH" dirty="0"/>
          </a:p>
          <a:p>
            <a:pPr algn="ctr"/>
            <a:r>
              <a:rPr lang="de-CH" dirty="0"/>
              <a:t>&lt; 10% utilization</a:t>
            </a:r>
            <a:endParaRPr lang="en-US" dirty="0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2561807C-9599-43E6-982F-60978A5BBAB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3524" y="2993566"/>
            <a:ext cx="2340000" cy="1476000"/>
          </a:xfrm>
        </p:spPr>
        <p:txBody>
          <a:bodyPr bIns="108000" anchor="ctr"/>
          <a:lstStyle/>
          <a:p>
            <a:pPr algn="ctr"/>
            <a:r>
              <a:rPr lang="de-CH" b="1" dirty="0"/>
              <a:t>Intermediate</a:t>
            </a:r>
          </a:p>
          <a:p>
            <a:pPr algn="ctr"/>
            <a:endParaRPr lang="de-CH" dirty="0"/>
          </a:p>
          <a:p>
            <a:pPr algn="ctr"/>
            <a:r>
              <a:rPr lang="de-CH" dirty="0"/>
              <a:t>~ 50% utilization</a:t>
            </a:r>
            <a:endParaRPr lang="en-US" dirty="0"/>
          </a:p>
          <a:p>
            <a:endParaRPr lang="en-US" dirty="0"/>
          </a:p>
        </p:txBody>
      </p:sp>
      <p:sp>
        <p:nvSpPr>
          <p:cNvPr id="41" name="Content Placeholder 62">
            <a:extLst>
              <a:ext uri="{FF2B5EF4-FFF2-40B4-BE49-F238E27FC236}">
                <a16:creationId xmlns:a16="http://schemas.microsoft.com/office/drawing/2014/main" id="{A1546D69-7879-4704-9137-13956DD4B687}"/>
              </a:ext>
            </a:extLst>
          </p:cNvPr>
          <p:cNvSpPr txBox="1">
            <a:spLocks/>
          </p:cNvSpPr>
          <p:nvPr/>
        </p:nvSpPr>
        <p:spPr bwMode="gray">
          <a:xfrm>
            <a:off x="4929467" y="1525188"/>
            <a:ext cx="2340000" cy="1476000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Centers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US" dirty="0">
                <a:solidFill>
                  <a:sysClr val="windowText" lastClr="000000"/>
                </a:solidFill>
                <a:latin typeface="Arial"/>
              </a:rPr>
              <a:t>Substations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ergency infrastructure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itical industries</a:t>
            </a:r>
          </a:p>
        </p:txBody>
      </p:sp>
      <p:sp>
        <p:nvSpPr>
          <p:cNvPr id="42" name="Content Placeholder 62">
            <a:extLst>
              <a:ext uri="{FF2B5EF4-FFF2-40B4-BE49-F238E27FC236}">
                <a16:creationId xmlns:a16="http://schemas.microsoft.com/office/drawing/2014/main" id="{6E81D8CB-52F6-4F9C-9C86-F52861BFCD5B}"/>
              </a:ext>
            </a:extLst>
          </p:cNvPr>
          <p:cNvSpPr txBox="1">
            <a:spLocks/>
          </p:cNvSpPr>
          <p:nvPr/>
        </p:nvSpPr>
        <p:spPr bwMode="gray">
          <a:xfrm>
            <a:off x="4929467" y="3003660"/>
            <a:ext cx="2340000" cy="1476000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BBvoice" panose="020D0603020503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195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truction / mining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mporary Power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US" dirty="0">
                <a:solidFill>
                  <a:prstClr val="black"/>
                </a:solidFill>
                <a:latin typeface="Arial"/>
              </a:rPr>
              <a:t>Re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te events</a:t>
            </a:r>
          </a:p>
          <a:p>
            <a:pPr marL="171450" marR="0" lvl="0" indent="-171450" algn="just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yside charging</a:t>
            </a:r>
          </a:p>
        </p:txBody>
      </p:sp>
      <p:sp>
        <p:nvSpPr>
          <p:cNvPr id="43" name="Content Placeholder 62">
            <a:extLst>
              <a:ext uri="{FF2B5EF4-FFF2-40B4-BE49-F238E27FC236}">
                <a16:creationId xmlns:a16="http://schemas.microsoft.com/office/drawing/2014/main" id="{48DC279C-4142-4E63-AF6C-5C075B4A09AE}"/>
              </a:ext>
            </a:extLst>
          </p:cNvPr>
          <p:cNvSpPr txBox="1">
            <a:spLocks/>
          </p:cNvSpPr>
          <p:nvPr/>
        </p:nvSpPr>
        <p:spPr bwMode="gray">
          <a:xfrm>
            <a:off x="4925999" y="4468889"/>
            <a:ext cx="2340000" cy="1476000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BBvoice" panose="020D0603020503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195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Centers 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gistic hubs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rplus hydrogen operations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-grid communities</a:t>
            </a:r>
          </a:p>
        </p:txBody>
      </p:sp>
      <p:sp>
        <p:nvSpPr>
          <p:cNvPr id="48" name="Content Placeholder 62">
            <a:extLst>
              <a:ext uri="{FF2B5EF4-FFF2-40B4-BE49-F238E27FC236}">
                <a16:creationId xmlns:a16="http://schemas.microsoft.com/office/drawing/2014/main" id="{36DDC93A-8517-43E4-AB7E-95F1F8FA2F63}"/>
              </a:ext>
            </a:extLst>
          </p:cNvPr>
          <p:cNvSpPr txBox="1">
            <a:spLocks/>
          </p:cNvSpPr>
          <p:nvPr/>
        </p:nvSpPr>
        <p:spPr bwMode="gray">
          <a:xfrm>
            <a:off x="9218428" y="1525188"/>
            <a:ext cx="2527081" cy="1476000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ean backup power for durations beyond the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acity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batteries</a:t>
            </a:r>
          </a:p>
          <a:p>
            <a:pPr marR="0" lvl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Content Placeholder 62">
            <a:extLst>
              <a:ext uri="{FF2B5EF4-FFF2-40B4-BE49-F238E27FC236}">
                <a16:creationId xmlns:a16="http://schemas.microsoft.com/office/drawing/2014/main" id="{8AB64DEA-5C67-48DE-9244-E3BD53879E25}"/>
              </a:ext>
            </a:extLst>
          </p:cNvPr>
          <p:cNvSpPr txBox="1">
            <a:spLocks/>
          </p:cNvSpPr>
          <p:nvPr/>
        </p:nvSpPr>
        <p:spPr bwMode="gray">
          <a:xfrm>
            <a:off x="9214960" y="3000531"/>
            <a:ext cx="2530549" cy="1476000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ctr">
              <a:buNone/>
              <a:defRPr/>
            </a:pPr>
            <a:r>
              <a:rPr lang="en-US" b="1" dirty="0">
                <a:solidFill>
                  <a:schemeClr val="tx2"/>
                </a:solidFill>
                <a:latin typeface="Arial"/>
              </a:rPr>
              <a:t>Deployable, distributed and flexible green power generation</a:t>
            </a:r>
          </a:p>
        </p:txBody>
      </p:sp>
      <p:sp>
        <p:nvSpPr>
          <p:cNvPr id="50" name="Content Placeholder 62">
            <a:extLst>
              <a:ext uri="{FF2B5EF4-FFF2-40B4-BE49-F238E27FC236}">
                <a16:creationId xmlns:a16="http://schemas.microsoft.com/office/drawing/2014/main" id="{8828994F-2106-45D1-82AC-2ACF0796EB33}"/>
              </a:ext>
            </a:extLst>
          </p:cNvPr>
          <p:cNvSpPr txBox="1">
            <a:spLocks/>
          </p:cNvSpPr>
          <p:nvPr/>
        </p:nvSpPr>
        <p:spPr bwMode="gray">
          <a:xfrm>
            <a:off x="9218428" y="4468889"/>
            <a:ext cx="2530549" cy="1476000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002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rge operations dependent on fossil fuel-based power generators</a:t>
            </a:r>
          </a:p>
        </p:txBody>
      </p:sp>
      <p:sp>
        <p:nvSpPr>
          <p:cNvPr id="51" name="Isosceles Triangle 50">
            <a:extLst>
              <a:ext uri="{FF2B5EF4-FFF2-40B4-BE49-F238E27FC236}">
                <a16:creationId xmlns:a16="http://schemas.microsoft.com/office/drawing/2014/main" id="{3123F9C9-A400-4158-85A2-4E68B1357264}"/>
              </a:ext>
            </a:extLst>
          </p:cNvPr>
          <p:cNvSpPr/>
          <p:nvPr/>
        </p:nvSpPr>
        <p:spPr>
          <a:xfrm rot="5400000">
            <a:off x="2824559" y="2102221"/>
            <a:ext cx="1476000" cy="318581"/>
          </a:xfrm>
          <a:prstGeom prst="triangle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Isosceles Triangle 51">
            <a:extLst>
              <a:ext uri="{FF2B5EF4-FFF2-40B4-BE49-F238E27FC236}">
                <a16:creationId xmlns:a16="http://schemas.microsoft.com/office/drawing/2014/main" id="{E4E72C73-A684-43DF-AE65-2FF5F93F891E}"/>
              </a:ext>
            </a:extLst>
          </p:cNvPr>
          <p:cNvSpPr/>
          <p:nvPr/>
        </p:nvSpPr>
        <p:spPr>
          <a:xfrm rot="5400000">
            <a:off x="2824559" y="3571599"/>
            <a:ext cx="1476000" cy="318581"/>
          </a:xfrm>
          <a:prstGeom prst="triangle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Isosceles Triangle 52">
            <a:extLst>
              <a:ext uri="{FF2B5EF4-FFF2-40B4-BE49-F238E27FC236}">
                <a16:creationId xmlns:a16="http://schemas.microsoft.com/office/drawing/2014/main" id="{9DE80B94-D0D3-414D-8D94-FE8D3F69E4D6}"/>
              </a:ext>
            </a:extLst>
          </p:cNvPr>
          <p:cNvSpPr/>
          <p:nvPr/>
        </p:nvSpPr>
        <p:spPr>
          <a:xfrm rot="5400000">
            <a:off x="2824559" y="5047599"/>
            <a:ext cx="1476000" cy="318581"/>
          </a:xfrm>
          <a:prstGeom prst="triangle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Isosceles Triangle 53">
            <a:extLst>
              <a:ext uri="{FF2B5EF4-FFF2-40B4-BE49-F238E27FC236}">
                <a16:creationId xmlns:a16="http://schemas.microsoft.com/office/drawing/2014/main" id="{38B20B7D-E7E2-4928-8B3A-60A0D5B8F5E9}"/>
              </a:ext>
            </a:extLst>
          </p:cNvPr>
          <p:cNvSpPr/>
          <p:nvPr/>
        </p:nvSpPr>
        <p:spPr>
          <a:xfrm rot="5400000">
            <a:off x="8075048" y="2102222"/>
            <a:ext cx="1476000" cy="318581"/>
          </a:xfrm>
          <a:prstGeom prst="triangle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Isosceles Triangle 54">
            <a:extLst>
              <a:ext uri="{FF2B5EF4-FFF2-40B4-BE49-F238E27FC236}">
                <a16:creationId xmlns:a16="http://schemas.microsoft.com/office/drawing/2014/main" id="{22F02325-5964-4F9B-8DCD-6C67FF7080DC}"/>
              </a:ext>
            </a:extLst>
          </p:cNvPr>
          <p:cNvSpPr/>
          <p:nvPr/>
        </p:nvSpPr>
        <p:spPr>
          <a:xfrm rot="5400000">
            <a:off x="8075048" y="3571599"/>
            <a:ext cx="1476000" cy="318581"/>
          </a:xfrm>
          <a:prstGeom prst="triangle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DA51DDB7-1068-4500-8CF1-C73E5D09E40C}"/>
              </a:ext>
            </a:extLst>
          </p:cNvPr>
          <p:cNvSpPr/>
          <p:nvPr/>
        </p:nvSpPr>
        <p:spPr>
          <a:xfrm rot="5400000">
            <a:off x="8075048" y="5055241"/>
            <a:ext cx="1476000" cy="318581"/>
          </a:xfrm>
          <a:prstGeom prst="triangle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1836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6E0E927-AA80-2CCD-5571-79735A0715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algn="ctr">
              <a:spcBef>
                <a:spcPts val="0"/>
              </a:spcBef>
            </a:pPr>
            <a:r>
              <a:rPr lang="en-US" dirty="0"/>
              <a:t>Over 100 guests attended the ceremony in November 2023</a:t>
            </a:r>
          </a:p>
          <a:p>
            <a:pPr algn="ctr">
              <a:spcBef>
                <a:spcPts val="0"/>
              </a:spcBef>
            </a:pPr>
            <a:endParaRPr lang="en-US" dirty="0"/>
          </a:p>
          <a:p>
            <a:pPr algn="ctr">
              <a:spcBef>
                <a:spcPts val="0"/>
              </a:spcBef>
            </a:pPr>
            <a:endParaRPr lang="en-US" dirty="0"/>
          </a:p>
          <a:p>
            <a:pPr algn="ctr">
              <a:spcBef>
                <a:spcPts val="0"/>
              </a:spcBef>
            </a:pPr>
            <a:r>
              <a:rPr lang="en-US" dirty="0"/>
              <a:t>Unveiling of the first </a:t>
            </a:r>
            <a:r>
              <a:rPr lang="en-US" dirty="0" err="1"/>
              <a:t>HyFlex</a:t>
            </a:r>
            <a:r>
              <a:rPr lang="en-US" dirty="0"/>
              <a:t> Demonstration Unit</a:t>
            </a:r>
          </a:p>
          <a:p>
            <a:pPr algn="ctr">
              <a:spcBef>
                <a:spcPts val="0"/>
              </a:spcBef>
            </a:pPr>
            <a:endParaRPr lang="en-US" dirty="0"/>
          </a:p>
          <a:p>
            <a:pPr algn="ctr">
              <a:spcBef>
                <a:spcPts val="0"/>
              </a:spcBef>
            </a:pPr>
            <a:endParaRPr lang="en-US" dirty="0"/>
          </a:p>
          <a:p>
            <a:pPr algn="ctr">
              <a:spcBef>
                <a:spcPts val="0"/>
              </a:spcBef>
            </a:pPr>
            <a:r>
              <a:rPr lang="en-US" dirty="0"/>
              <a:t>Fully functional, scaled down variant of the series product</a:t>
            </a:r>
          </a:p>
          <a:p>
            <a:pPr algn="ctr">
              <a:spcBef>
                <a:spcPts val="0"/>
              </a:spcBef>
            </a:pPr>
            <a:endParaRPr lang="en-US" dirty="0"/>
          </a:p>
          <a:p>
            <a:pPr algn="ctr">
              <a:spcBef>
                <a:spcPts val="0"/>
              </a:spcBef>
            </a:pPr>
            <a:endParaRPr lang="en-US" dirty="0"/>
          </a:p>
          <a:p>
            <a:pPr algn="ctr">
              <a:spcBef>
                <a:spcPts val="0"/>
              </a:spcBef>
            </a:pPr>
            <a:r>
              <a:rPr lang="en-US" dirty="0"/>
              <a:t>Event facility powered by </a:t>
            </a:r>
            <a:r>
              <a:rPr lang="en-US" dirty="0" err="1"/>
              <a:t>HyFlex</a:t>
            </a:r>
            <a:r>
              <a:rPr lang="en-US" dirty="0"/>
              <a:t> running on hydrogen</a:t>
            </a:r>
            <a:endParaRPr lang="en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5E9F0D-F909-7F38-BACC-E9ED44033A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HyFlex</a:t>
            </a:r>
            <a:r>
              <a:rPr lang="de-CH" dirty="0"/>
              <a:t> </a:t>
            </a:r>
            <a:r>
              <a:rPr lang="de-CH" dirty="0" err="1"/>
              <a:t>inauguration</a:t>
            </a:r>
            <a:r>
              <a:rPr lang="de-CH" dirty="0"/>
              <a:t> </a:t>
            </a:r>
            <a:r>
              <a:rPr lang="de-CH" dirty="0" err="1"/>
              <a:t>event</a:t>
            </a:r>
            <a:endParaRPr lang="en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623D44-2A14-5DE9-6693-C27AA23030DB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3416400" y="6456496"/>
            <a:ext cx="6688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F875C5-41FB-9B94-A961-7048EFFCB5D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0EE350CE-D68C-4BC6-1808-C3383EBA351F}"/>
              </a:ext>
            </a:extLst>
          </p:cNvPr>
          <p:cNvPicPr>
            <a:picLocks noGrp="1" noChangeAspect="1"/>
          </p:cNvPicPr>
          <p:nvPr>
            <p:ph sz="quarter" idx="19"/>
          </p:nvPr>
        </p:nvPicPr>
        <p:blipFill>
          <a:blip r:embed="rId2"/>
          <a:stretch>
            <a:fillRect/>
          </a:stretch>
        </p:blipFill>
        <p:spPr>
          <a:xfrm>
            <a:off x="4543425" y="1398393"/>
            <a:ext cx="7383463" cy="4924814"/>
          </a:xfrm>
        </p:spPr>
      </p:pic>
    </p:spTree>
    <p:extLst>
      <p:ext uri="{BB962C8B-B14F-4D97-AF65-F5344CB8AC3E}">
        <p14:creationId xmlns:p14="http://schemas.microsoft.com/office/powerpoint/2010/main" val="35383531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group of people in yellow jackets&#10;&#10;Description automatically generated">
            <a:extLst>
              <a:ext uri="{FF2B5EF4-FFF2-40B4-BE49-F238E27FC236}">
                <a16:creationId xmlns:a16="http://schemas.microsoft.com/office/drawing/2014/main" id="{F8EBE777-E12E-8315-07EE-7767D92134A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85" r="10329" b="-2"/>
          <a:stretch/>
        </p:blipFill>
        <p:spPr>
          <a:xfrm>
            <a:off x="4530457" y="3701143"/>
            <a:ext cx="3713256" cy="2520000"/>
          </a:xfrm>
          <a:prstGeom prst="rect">
            <a:avLst/>
          </a:prstGeom>
          <a:noFill/>
        </p:spPr>
      </p:pic>
      <p:pic>
        <p:nvPicPr>
          <p:cNvPr id="11" name="Picture 10" descr="A construction vehicle with a large arm&#10;&#10;Description automatically generated">
            <a:extLst>
              <a:ext uri="{FF2B5EF4-FFF2-40B4-BE49-F238E27FC236}">
                <a16:creationId xmlns:a16="http://schemas.microsoft.com/office/drawing/2014/main" id="{5904CFD7-8611-7A49-39AF-B76FDEACA70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63" t="9042" r="1371" b="-1"/>
          <a:stretch/>
        </p:blipFill>
        <p:spPr>
          <a:xfrm>
            <a:off x="4524406" y="1050765"/>
            <a:ext cx="3713256" cy="2520000"/>
          </a:xfrm>
          <a:prstGeom prst="rect">
            <a:avLst/>
          </a:prstGeom>
          <a:noFill/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E3CC13C-C855-812D-07BF-53F9F8CF13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rmAutofit/>
          </a:bodyPr>
          <a:lstStyle/>
          <a:p>
            <a:r>
              <a:rPr lang="de-CH" dirty="0" err="1"/>
              <a:t>HyFlex</a:t>
            </a:r>
            <a:r>
              <a:rPr lang="de-CH" dirty="0"/>
              <a:t> </a:t>
            </a:r>
            <a:r>
              <a:rPr lang="de-CH" dirty="0" err="1"/>
              <a:t>customer</a:t>
            </a:r>
            <a:r>
              <a:rPr lang="de-CH" dirty="0"/>
              <a:t> </a:t>
            </a:r>
            <a:r>
              <a:rPr lang="de-CH" dirty="0" err="1"/>
              <a:t>trials</a:t>
            </a:r>
            <a:r>
              <a:rPr lang="de-CH" dirty="0"/>
              <a:t> – </a:t>
            </a:r>
            <a:r>
              <a:rPr lang="de-CH" dirty="0" err="1"/>
              <a:t>Gothenburg</a:t>
            </a:r>
            <a:r>
              <a:rPr lang="de-CH" dirty="0"/>
              <a:t> Harbor</a:t>
            </a:r>
            <a:endParaRPr lang="en-CH" dirty="0"/>
          </a:p>
        </p:txBody>
      </p:sp>
      <p:sp>
        <p:nvSpPr>
          <p:cNvPr id="20" name="Footer Placeholder 7">
            <a:extLst>
              <a:ext uri="{FF2B5EF4-FFF2-40B4-BE49-F238E27FC236}">
                <a16:creationId xmlns:a16="http://schemas.microsoft.com/office/drawing/2014/main" id="{CB2760E3-1E70-8B88-F05A-7301CDF0AA7B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3416400" y="6456496"/>
            <a:ext cx="6688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F88FDC-094F-5BEC-F4BE-B392C2624BB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265236" y="6470788"/>
            <a:ext cx="302400" cy="3024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C24EC536-6FE3-4540-8D85-74C58F0BF697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  <p:pic>
        <p:nvPicPr>
          <p:cNvPr id="18" name="Picture 17" descr="A person in a yellow jacket&#10;&#10;Description automatically generated">
            <a:extLst>
              <a:ext uri="{FF2B5EF4-FFF2-40B4-BE49-F238E27FC236}">
                <a16:creationId xmlns:a16="http://schemas.microsoft.com/office/drawing/2014/main" id="{4596085A-98DD-AB6D-961C-67D4DA06B7F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13" r="1865"/>
          <a:stretch/>
        </p:blipFill>
        <p:spPr>
          <a:xfrm>
            <a:off x="8332766" y="3701143"/>
            <a:ext cx="3544867" cy="2520000"/>
          </a:xfrm>
          <a:prstGeom prst="rect">
            <a:avLst/>
          </a:prstGeom>
        </p:spPr>
      </p:pic>
      <p:pic>
        <p:nvPicPr>
          <p:cNvPr id="4" name="Picture 3" descr="A close up of a vehicle&#10;&#10;Description automatically generated">
            <a:extLst>
              <a:ext uri="{FF2B5EF4-FFF2-40B4-BE49-F238E27FC236}">
                <a16:creationId xmlns:a16="http://schemas.microsoft.com/office/drawing/2014/main" id="{A5A9224A-0CED-6581-0C15-2D755594E4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40" r="28572"/>
          <a:stretch/>
        </p:blipFill>
        <p:spPr>
          <a:xfrm>
            <a:off x="263524" y="1053920"/>
            <a:ext cx="4145938" cy="5167495"/>
          </a:xfrm>
          <a:prstGeom prst="rect">
            <a:avLst/>
          </a:prstGeom>
        </p:spPr>
      </p:pic>
      <p:pic>
        <p:nvPicPr>
          <p:cNvPr id="7" name="Picture 6" descr="A group of people in yellow jackets&#10;&#10;Description automatically generated">
            <a:extLst>
              <a:ext uri="{FF2B5EF4-FFF2-40B4-BE49-F238E27FC236}">
                <a16:creationId xmlns:a16="http://schemas.microsoft.com/office/drawing/2014/main" id="{E2165521-2E98-551F-E903-A4494ACCC07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874"/>
          <a:stretch/>
        </p:blipFill>
        <p:spPr>
          <a:xfrm>
            <a:off x="8332766" y="1050765"/>
            <a:ext cx="3544866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9782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large ship in the background&#10;&#10;Description automatically generated">
            <a:extLst>
              <a:ext uri="{FF2B5EF4-FFF2-40B4-BE49-F238E27FC236}">
                <a16:creationId xmlns:a16="http://schemas.microsoft.com/office/drawing/2014/main" id="{BDA9472F-2DF0-A47E-4ACB-75AAD25A927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4" b="8129"/>
          <a:stretch/>
        </p:blipFill>
        <p:spPr>
          <a:xfrm>
            <a:off x="-74429" y="-438688"/>
            <a:ext cx="12276241" cy="7371116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6AD3B6-7BD2-54A0-92FD-7DC0859383F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92D49D9-EA1F-B27E-690A-345EDB878EA1}"/>
              </a:ext>
            </a:extLst>
          </p:cNvPr>
          <p:cNvSpPr txBox="1"/>
          <p:nvPr/>
        </p:nvSpPr>
        <p:spPr>
          <a:xfrm>
            <a:off x="1098227" y="3049282"/>
            <a:ext cx="1659391" cy="3306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400" b="1" dirty="0">
                <a:solidFill>
                  <a:schemeClr val="bg1"/>
                </a:solidFill>
              </a:rPr>
              <a:t>H2 storage bottles</a:t>
            </a:r>
            <a:endParaRPr lang="en-CH" sz="1400" b="1" dirty="0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1E976D1-0AD4-1DCC-7866-83F95C4309DA}"/>
              </a:ext>
            </a:extLst>
          </p:cNvPr>
          <p:cNvSpPr txBox="1"/>
          <p:nvPr/>
        </p:nvSpPr>
        <p:spPr>
          <a:xfrm>
            <a:off x="3933917" y="6140168"/>
            <a:ext cx="2765660" cy="3306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400" b="1" dirty="0">
                <a:solidFill>
                  <a:schemeClr val="bg1"/>
                </a:solidFill>
              </a:rPr>
              <a:t>H2 safety and regulation panel</a:t>
            </a:r>
            <a:endParaRPr lang="en-CH" sz="1400" b="1" dirty="0" err="1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7C51519-B377-FC4B-5EE6-FCA09B06563C}"/>
              </a:ext>
            </a:extLst>
          </p:cNvPr>
          <p:cNvSpPr txBox="1"/>
          <p:nvPr/>
        </p:nvSpPr>
        <p:spPr>
          <a:xfrm>
            <a:off x="4856419" y="3049282"/>
            <a:ext cx="1659391" cy="3306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400" b="1" dirty="0" err="1">
                <a:solidFill>
                  <a:schemeClr val="bg1"/>
                </a:solidFill>
              </a:rPr>
              <a:t>HyFlex</a:t>
            </a:r>
            <a:r>
              <a:rPr lang="en-US" sz="1400" b="1" dirty="0">
                <a:solidFill>
                  <a:schemeClr val="bg1"/>
                </a:solidFill>
              </a:rPr>
              <a:t> Hydrogen Power Generator</a:t>
            </a:r>
            <a:endParaRPr lang="en-CH" sz="1400" b="1" dirty="0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BDA16F0-927D-E3EC-53A8-895C5A0CD195}"/>
              </a:ext>
            </a:extLst>
          </p:cNvPr>
          <p:cNvSpPr txBox="1"/>
          <p:nvPr/>
        </p:nvSpPr>
        <p:spPr>
          <a:xfrm>
            <a:off x="8010469" y="6457834"/>
            <a:ext cx="3973031" cy="43054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400" b="1" dirty="0">
                <a:solidFill>
                  <a:schemeClr val="bg1"/>
                </a:solidFill>
              </a:rPr>
              <a:t>Batteries and e-excavator powered by </a:t>
            </a:r>
            <a:r>
              <a:rPr lang="en-US" sz="1400" b="1" dirty="0" err="1">
                <a:solidFill>
                  <a:schemeClr val="bg1"/>
                </a:solidFill>
              </a:rPr>
              <a:t>HyFlex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endParaRPr lang="en-CH" sz="1400" b="1" dirty="0" err="1">
              <a:solidFill>
                <a:schemeClr val="bg1"/>
              </a:solidFill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E8EB70A-3499-9191-8F69-8DA074A09052}"/>
              </a:ext>
            </a:extLst>
          </p:cNvPr>
          <p:cNvCxnSpPr>
            <a:cxnSpLocks/>
          </p:cNvCxnSpPr>
          <p:nvPr/>
        </p:nvCxnSpPr>
        <p:spPr>
          <a:xfrm>
            <a:off x="1880832" y="3305550"/>
            <a:ext cx="0" cy="668765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C93F83C-52D1-B001-5A7F-A87EB65F166A}"/>
              </a:ext>
            </a:extLst>
          </p:cNvPr>
          <p:cNvCxnSpPr/>
          <p:nvPr/>
        </p:nvCxnSpPr>
        <p:spPr>
          <a:xfrm>
            <a:off x="6174129" y="3317398"/>
            <a:ext cx="0" cy="432000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91EA432-ECFB-8469-A61D-CCCC1A3341F3}"/>
              </a:ext>
            </a:extLst>
          </p:cNvPr>
          <p:cNvCxnSpPr>
            <a:cxnSpLocks/>
          </p:cNvCxnSpPr>
          <p:nvPr/>
        </p:nvCxnSpPr>
        <p:spPr>
          <a:xfrm flipV="1">
            <a:off x="4165956" y="5056387"/>
            <a:ext cx="0" cy="1008000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FCC93D16-5719-A802-370F-765DD2999361}"/>
              </a:ext>
            </a:extLst>
          </p:cNvPr>
          <p:cNvCxnSpPr>
            <a:cxnSpLocks/>
          </p:cNvCxnSpPr>
          <p:nvPr/>
        </p:nvCxnSpPr>
        <p:spPr>
          <a:xfrm flipV="1">
            <a:off x="10735239" y="5753164"/>
            <a:ext cx="0" cy="637003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4862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69996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0483242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D0766C-7747-67E8-2561-BC3C2F948E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hydrogen?</a:t>
            </a:r>
            <a:endParaRPr lang="en-CH" dirty="0"/>
          </a:p>
        </p:txBody>
      </p:sp>
      <p:pic>
        <p:nvPicPr>
          <p:cNvPr id="8" name="Picture Placeholder 7" descr="Waterfall between large hills">
            <a:extLst>
              <a:ext uri="{FF2B5EF4-FFF2-40B4-BE49-F238E27FC236}">
                <a16:creationId xmlns:a16="http://schemas.microsoft.com/office/drawing/2014/main" id="{AF5E64D0-2287-2745-FCC9-0C9B3175C66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74" b="10174"/>
          <a:stretch>
            <a:fillRect/>
          </a:stretch>
        </p:blipFill>
        <p:spPr>
          <a:xfrm>
            <a:off x="0" y="872602"/>
            <a:ext cx="12192000" cy="5462588"/>
          </a:xfr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E086CC-B5A6-7B90-5563-1ED8DB9728B1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0" y="1326930"/>
            <a:ext cx="6265445" cy="2287014"/>
          </a:xfrm>
          <a:noFill/>
        </p:spPr>
        <p:txBody>
          <a:bodyPr/>
          <a:lstStyle/>
          <a:p>
            <a:r>
              <a:rPr lang="en-US" sz="3200" b="1" dirty="0"/>
              <a:t>Green hydrogen is produced with renewable electricity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83B67-C88A-9CB2-22FC-C503032BF96D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3416400" y="6456496"/>
            <a:ext cx="6688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B576F1-D7CA-7F54-ED9A-A218C7509D79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8AC5FFB-A033-C397-4BA0-77EA35855679}"/>
              </a:ext>
            </a:extLst>
          </p:cNvPr>
          <p:cNvSpPr txBox="1">
            <a:spLocks/>
          </p:cNvSpPr>
          <p:nvPr/>
        </p:nvSpPr>
        <p:spPr bwMode="gray">
          <a:xfrm>
            <a:off x="4148868" y="4805412"/>
            <a:ext cx="8436973" cy="1936982"/>
          </a:xfrm>
          <a:prstGeom prst="rect">
            <a:avLst/>
          </a:prstGeom>
          <a:noFill/>
        </p:spPr>
        <p:txBody>
          <a:bodyPr vert="horz" lIns="324000" tIns="252000" rIns="324000" bIns="468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2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3200" b="1" dirty="0"/>
              <a:t>…and will play a key role in decarbonizing hard-to-abate industries. </a:t>
            </a:r>
            <a:endParaRPr lang="en-CH" sz="3200" b="1" dirty="0"/>
          </a:p>
        </p:txBody>
      </p:sp>
    </p:spTree>
    <p:extLst>
      <p:ext uri="{BB962C8B-B14F-4D97-AF65-F5344CB8AC3E}">
        <p14:creationId xmlns:p14="http://schemas.microsoft.com/office/powerpoint/2010/main" val="24258696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AB653B-C51B-6E42-7E8A-676C36D407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BA11C2-57B3-428E-01A9-AE39BB38C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ing carbon neutrality</a:t>
            </a:r>
            <a:endParaRPr lang="en-CH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3F386D-52A6-708E-D462-E2DCB82C9573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12064" y="1234462"/>
            <a:ext cx="6717509" cy="2287014"/>
          </a:xfrm>
          <a:noFill/>
        </p:spPr>
        <p:txBody>
          <a:bodyPr/>
          <a:lstStyle/>
          <a:p>
            <a:r>
              <a:rPr lang="en-US" sz="3200" b="1" dirty="0"/>
              <a:t>Green hydrogen is produced by splitting water with renewable electricity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7EE78B-B7B5-987B-6F0E-111D20B0EBAF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3416400" y="6456496"/>
            <a:ext cx="6688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D71E42-867D-304B-26D4-648B3B8ED614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9DD3AE1D-9244-F621-6767-628CAB46348A}"/>
              </a:ext>
            </a:extLst>
          </p:cNvPr>
          <p:cNvSpPr txBox="1">
            <a:spLocks/>
          </p:cNvSpPr>
          <p:nvPr/>
        </p:nvSpPr>
        <p:spPr bwMode="gray">
          <a:xfrm>
            <a:off x="4107773" y="4636514"/>
            <a:ext cx="8166420" cy="1936982"/>
          </a:xfrm>
          <a:prstGeom prst="rect">
            <a:avLst/>
          </a:prstGeom>
          <a:noFill/>
        </p:spPr>
        <p:txBody>
          <a:bodyPr vert="horz" lIns="324000" tIns="252000" rIns="324000" bIns="468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2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3200" b="1" dirty="0"/>
              <a:t>…and can play a key role in decarbonizing hard-to-abate industries </a:t>
            </a:r>
            <a:endParaRPr lang="en-CH" sz="3200" b="1" dirty="0"/>
          </a:p>
        </p:txBody>
      </p:sp>
      <p:pic>
        <p:nvPicPr>
          <p:cNvPr id="11" name="Picture 10" descr="Person standing on top of a rock under Gljfrafoss waterfall">
            <a:extLst>
              <a:ext uri="{FF2B5EF4-FFF2-40B4-BE49-F238E27FC236}">
                <a16:creationId xmlns:a16="http://schemas.microsoft.com/office/drawing/2014/main" id="{1455BD8E-E3E7-6CDC-0B15-D8A92D645A4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" t="35854" r="363" b="1"/>
          <a:stretch/>
        </p:blipFill>
        <p:spPr>
          <a:xfrm>
            <a:off x="0" y="875262"/>
            <a:ext cx="12192000" cy="525815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965361B-BCBF-C4D7-4A90-65123D20359C}"/>
              </a:ext>
            </a:extLst>
          </p:cNvPr>
          <p:cNvSpPr txBox="1"/>
          <p:nvPr/>
        </p:nvSpPr>
        <p:spPr>
          <a:xfrm>
            <a:off x="398318" y="1617516"/>
            <a:ext cx="444081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520 million tons of low-emission hydrogen annually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98EE52-6944-A04C-ECF1-7058F958E024}"/>
              </a:ext>
            </a:extLst>
          </p:cNvPr>
          <p:cNvSpPr txBox="1"/>
          <p:nvPr/>
        </p:nvSpPr>
        <p:spPr>
          <a:xfrm>
            <a:off x="7704624" y="4551258"/>
            <a:ext cx="448737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…to reach carbon neutrality by 2050. 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82003BF-2974-EE3D-4185-5677EFDA9A94}"/>
              </a:ext>
            </a:extLst>
          </p:cNvPr>
          <p:cNvSpPr>
            <a:spLocks noChangeAspect="1"/>
          </p:cNvSpPr>
          <p:nvPr/>
        </p:nvSpPr>
        <p:spPr>
          <a:xfrm>
            <a:off x="6517239" y="2471326"/>
            <a:ext cx="180000" cy="180000"/>
          </a:xfrm>
          <a:prstGeom prst="ellipse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CH" sz="1400" dirty="0" err="1">
              <a:solidFill>
                <a:schemeClr val="tx1"/>
              </a:solidFill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F58E1D8-ACC6-502A-2253-2CAC825257FE}"/>
              </a:ext>
            </a:extLst>
          </p:cNvPr>
          <p:cNvCxnSpPr>
            <a:cxnSpLocks/>
            <a:stCxn id="18" idx="0"/>
            <a:endCxn id="19" idx="1"/>
          </p:cNvCxnSpPr>
          <p:nvPr/>
        </p:nvCxnSpPr>
        <p:spPr>
          <a:xfrm flipV="1">
            <a:off x="6607239" y="1543092"/>
            <a:ext cx="2079278" cy="92823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84675F2-01E3-6D87-08E7-D695107C3ED8}"/>
              </a:ext>
            </a:extLst>
          </p:cNvPr>
          <p:cNvCxnSpPr>
            <a:cxnSpLocks/>
            <a:stCxn id="18" idx="4"/>
            <a:endCxn id="19" idx="3"/>
          </p:cNvCxnSpPr>
          <p:nvPr/>
        </p:nvCxnSpPr>
        <p:spPr>
          <a:xfrm>
            <a:off x="6607239" y="2651326"/>
            <a:ext cx="2079278" cy="92823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id="{F12DDDF9-A28B-7859-9369-84BD9CBFE5E3}"/>
              </a:ext>
            </a:extLst>
          </p:cNvPr>
          <p:cNvSpPr>
            <a:spLocks noChangeAspect="1"/>
          </p:cNvSpPr>
          <p:nvPr/>
        </p:nvSpPr>
        <p:spPr>
          <a:xfrm>
            <a:off x="8264751" y="1121326"/>
            <a:ext cx="2880000" cy="2880000"/>
          </a:xfrm>
          <a:prstGeom prst="ellipse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2050</a:t>
            </a:r>
            <a:endParaRPr lang="en-CH" sz="1400" dirty="0" err="1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9D5395B-0AC1-CD6C-5872-F4BC90F4BCCD}"/>
              </a:ext>
            </a:extLst>
          </p:cNvPr>
          <p:cNvSpPr txBox="1"/>
          <p:nvPr/>
        </p:nvSpPr>
        <p:spPr>
          <a:xfrm>
            <a:off x="6424298" y="2072626"/>
            <a:ext cx="914400" cy="2817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400" dirty="0">
                <a:solidFill>
                  <a:schemeClr val="bg1"/>
                </a:solidFill>
              </a:rPr>
              <a:t>2024</a:t>
            </a:r>
            <a:endParaRPr lang="en-CH" sz="1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5117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ED76A3-181F-2072-7354-858D2A80DF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983E5E-90BF-84D2-563F-83514610C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tachi Energy supports your hydrogen journey</a:t>
            </a:r>
            <a:endParaRPr lang="en-CH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91299ED-CB0A-1851-F788-B42443BE16C7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12064" y="1234462"/>
            <a:ext cx="6717509" cy="2287014"/>
          </a:xfrm>
          <a:noFill/>
        </p:spPr>
        <p:txBody>
          <a:bodyPr/>
          <a:lstStyle/>
          <a:p>
            <a:r>
              <a:rPr lang="en-US" sz="3200" b="1" dirty="0"/>
              <a:t>Green hydrogen is produced by splitting water with renewable electricity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00C277-EEA5-6EE6-8AFC-B0FB084B4A21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3416400" y="6456496"/>
            <a:ext cx="6688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72CC42-97B7-68FC-F0EA-B4F86535146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12BD639D-6AFE-466E-34E5-8E47DD4F1BFE}"/>
              </a:ext>
            </a:extLst>
          </p:cNvPr>
          <p:cNvSpPr txBox="1">
            <a:spLocks/>
          </p:cNvSpPr>
          <p:nvPr/>
        </p:nvSpPr>
        <p:spPr bwMode="gray">
          <a:xfrm>
            <a:off x="4107773" y="4636514"/>
            <a:ext cx="8166420" cy="1936982"/>
          </a:xfrm>
          <a:prstGeom prst="rect">
            <a:avLst/>
          </a:prstGeom>
          <a:noFill/>
        </p:spPr>
        <p:txBody>
          <a:bodyPr vert="horz" lIns="324000" tIns="252000" rIns="324000" bIns="468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2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3200" b="1" dirty="0"/>
              <a:t>…and can play a key role in decarbonizing hard-to-abate industries </a:t>
            </a:r>
            <a:endParaRPr lang="en-CH" sz="3200" b="1" dirty="0"/>
          </a:p>
        </p:txBody>
      </p:sp>
      <p:pic>
        <p:nvPicPr>
          <p:cNvPr id="12" name="Picture 11" descr="Person facing waterfall">
            <a:extLst>
              <a:ext uri="{FF2B5EF4-FFF2-40B4-BE49-F238E27FC236}">
                <a16:creationId xmlns:a16="http://schemas.microsoft.com/office/drawing/2014/main" id="{22406AAE-430E-3728-5108-15A4702373A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" t="40502" r="-529" b="-303"/>
          <a:stretch/>
        </p:blipFill>
        <p:spPr>
          <a:xfrm>
            <a:off x="-1" y="877894"/>
            <a:ext cx="12260545" cy="533228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9AB7091-E27D-4915-4FE5-ADBABE1AA185}"/>
              </a:ext>
            </a:extLst>
          </p:cNvPr>
          <p:cNvSpPr txBox="1"/>
          <p:nvPr/>
        </p:nvSpPr>
        <p:spPr>
          <a:xfrm>
            <a:off x="567636" y="2105704"/>
            <a:ext cx="11612300" cy="28315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742950" indent="-742950">
              <a:spcAft>
                <a:spcPts val="1200"/>
              </a:spcAft>
              <a:buFont typeface="+mj-lt"/>
              <a:buAutoNum type="arabicPeriod"/>
            </a:pPr>
            <a:r>
              <a:rPr lang="en-US" sz="2800" b="1" dirty="0">
                <a:solidFill>
                  <a:schemeClr val="bg1"/>
                </a:solidFill>
              </a:rPr>
              <a:t>Hur </a:t>
            </a:r>
            <a:r>
              <a:rPr lang="en-US" sz="2800" b="1" dirty="0" err="1">
                <a:solidFill>
                  <a:schemeClr val="bg1"/>
                </a:solidFill>
              </a:rPr>
              <a:t>ansluter</a:t>
            </a:r>
            <a:r>
              <a:rPr lang="en-US" sz="2800" b="1" dirty="0">
                <a:solidFill>
                  <a:schemeClr val="bg1"/>
                </a:solidFill>
              </a:rPr>
              <a:t> man </a:t>
            </a:r>
            <a:r>
              <a:rPr lang="en-US" sz="2800" b="1" dirty="0" err="1">
                <a:solidFill>
                  <a:schemeClr val="bg1"/>
                </a:solidFill>
              </a:rPr>
              <a:t>grön</a:t>
            </a:r>
            <a:r>
              <a:rPr lang="en-US" sz="2800" b="1" dirty="0">
                <a:solidFill>
                  <a:schemeClr val="bg1"/>
                </a:solidFill>
              </a:rPr>
              <a:t> </a:t>
            </a:r>
            <a:r>
              <a:rPr lang="en-US" sz="2800" b="1" dirty="0" err="1">
                <a:solidFill>
                  <a:schemeClr val="bg1"/>
                </a:solidFill>
              </a:rPr>
              <a:t>vätgas</a:t>
            </a:r>
            <a:r>
              <a:rPr lang="en-US" sz="2800" b="1" dirty="0">
                <a:solidFill>
                  <a:schemeClr val="bg1"/>
                </a:solidFill>
              </a:rPr>
              <a:t> till </a:t>
            </a:r>
            <a:r>
              <a:rPr lang="en-US" sz="2800" b="1" dirty="0" err="1">
                <a:solidFill>
                  <a:schemeClr val="bg1"/>
                </a:solidFill>
              </a:rPr>
              <a:t>elnätet</a:t>
            </a:r>
            <a:r>
              <a:rPr lang="en-US" sz="2800" b="1" dirty="0">
                <a:solidFill>
                  <a:schemeClr val="bg1"/>
                </a:solidFill>
              </a:rPr>
              <a:t>?</a:t>
            </a:r>
          </a:p>
          <a:p>
            <a:pPr marL="742950" indent="-742950">
              <a:spcAft>
                <a:spcPts val="1200"/>
              </a:spcAft>
              <a:buFont typeface="+mj-lt"/>
              <a:buAutoNum type="arabicPeriod"/>
            </a:pPr>
            <a:r>
              <a:rPr lang="en-US" sz="2800" b="1" dirty="0">
                <a:solidFill>
                  <a:schemeClr val="bg1"/>
                </a:solidFill>
              </a:rPr>
              <a:t>Hur </a:t>
            </a:r>
            <a:r>
              <a:rPr lang="en-US" sz="2800" b="1" dirty="0" err="1">
                <a:solidFill>
                  <a:schemeClr val="bg1"/>
                </a:solidFill>
              </a:rPr>
              <a:t>säkerställer</a:t>
            </a:r>
            <a:r>
              <a:rPr lang="en-US" sz="2800" b="1" dirty="0">
                <a:solidFill>
                  <a:schemeClr val="bg1"/>
                </a:solidFill>
              </a:rPr>
              <a:t> vi god </a:t>
            </a:r>
            <a:r>
              <a:rPr lang="en-US" sz="2800" b="1" dirty="0" err="1">
                <a:solidFill>
                  <a:schemeClr val="bg1"/>
                </a:solidFill>
              </a:rPr>
              <a:t>elkvalitet</a:t>
            </a:r>
            <a:r>
              <a:rPr lang="en-US" sz="2800" b="1" dirty="0">
                <a:solidFill>
                  <a:schemeClr val="bg1"/>
                </a:solidFill>
              </a:rPr>
              <a:t> för  </a:t>
            </a:r>
            <a:r>
              <a:rPr lang="en-US" sz="2800" b="1" dirty="0" err="1">
                <a:solidFill>
                  <a:schemeClr val="bg1"/>
                </a:solidFill>
              </a:rPr>
              <a:t>vätgasapplikationer</a:t>
            </a:r>
            <a:r>
              <a:rPr lang="en-US" sz="2800" b="1" dirty="0">
                <a:solidFill>
                  <a:schemeClr val="bg1"/>
                </a:solidFill>
              </a:rPr>
              <a:t>?</a:t>
            </a:r>
          </a:p>
          <a:p>
            <a:pPr marL="742950" indent="-742950">
              <a:spcAft>
                <a:spcPts val="1200"/>
              </a:spcAft>
              <a:buFont typeface="+mj-lt"/>
              <a:buAutoNum type="arabicPeriod"/>
            </a:pPr>
            <a:r>
              <a:rPr lang="en-US" sz="2800" b="1" dirty="0" err="1">
                <a:solidFill>
                  <a:schemeClr val="bg1"/>
                </a:solidFill>
              </a:rPr>
              <a:t>HyFlex</a:t>
            </a:r>
            <a:r>
              <a:rPr lang="en-US" sz="2800" b="1" dirty="0">
                <a:solidFill>
                  <a:schemeClr val="bg1"/>
                </a:solidFill>
              </a:rPr>
              <a:t> </a:t>
            </a:r>
            <a:r>
              <a:rPr lang="en-US" sz="2800" b="1" dirty="0" err="1">
                <a:solidFill>
                  <a:schemeClr val="bg1"/>
                </a:solidFill>
              </a:rPr>
              <a:t>vätgasgenerator</a:t>
            </a:r>
            <a:r>
              <a:rPr lang="en-US" sz="2800" b="1" dirty="0">
                <a:solidFill>
                  <a:schemeClr val="bg1"/>
                </a:solidFill>
              </a:rPr>
              <a:t> – </a:t>
            </a:r>
            <a:r>
              <a:rPr lang="en-US" sz="2800" b="1" dirty="0" err="1">
                <a:solidFill>
                  <a:schemeClr val="bg1"/>
                </a:solidFill>
              </a:rPr>
              <a:t>Ett</a:t>
            </a:r>
            <a:r>
              <a:rPr lang="en-US" sz="2800" b="1" dirty="0">
                <a:solidFill>
                  <a:schemeClr val="bg1"/>
                </a:solidFill>
              </a:rPr>
              <a:t> </a:t>
            </a:r>
            <a:r>
              <a:rPr lang="en-US" sz="2800" b="1" dirty="0" err="1">
                <a:solidFill>
                  <a:schemeClr val="bg1"/>
                </a:solidFill>
              </a:rPr>
              <a:t>minne</a:t>
            </a:r>
            <a:r>
              <a:rPr lang="en-US" sz="2800" b="1" dirty="0">
                <a:solidFill>
                  <a:schemeClr val="bg1"/>
                </a:solidFill>
              </a:rPr>
              <a:t> </a:t>
            </a:r>
            <a:r>
              <a:rPr lang="en-US" sz="2800" b="1" dirty="0" err="1">
                <a:solidFill>
                  <a:schemeClr val="bg1"/>
                </a:solidFill>
              </a:rPr>
              <a:t>blott</a:t>
            </a:r>
            <a:r>
              <a:rPr lang="en-US" sz="2800" b="1" dirty="0">
                <a:solidFill>
                  <a:schemeClr val="bg1"/>
                </a:solidFill>
              </a:rPr>
              <a:t> med </a:t>
            </a:r>
            <a:r>
              <a:rPr lang="en-US" sz="2800" b="1" dirty="0" err="1">
                <a:solidFill>
                  <a:schemeClr val="bg1"/>
                </a:solidFill>
              </a:rPr>
              <a:t>dieselgeneratorer</a:t>
            </a:r>
            <a:r>
              <a:rPr lang="en-US" sz="2800" b="1" dirty="0">
                <a:solidFill>
                  <a:schemeClr val="bg1"/>
                </a:solidFill>
              </a:rPr>
              <a:t>?</a:t>
            </a:r>
          </a:p>
          <a:p>
            <a:pPr marL="742950" indent="-742950">
              <a:spcAft>
                <a:spcPts val="1200"/>
              </a:spcAft>
              <a:buFont typeface="+mj-lt"/>
              <a:buAutoNum type="arabicPeriod"/>
            </a:pPr>
            <a:endParaRPr lang="en-US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7433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83" imgH="384" progId="TCLayout.ActiveDocument.1">
                  <p:embed/>
                </p:oleObj>
              </mc:Choice>
              <mc:Fallback>
                <p:oleObj name="think-cell Slide" r:id="rId9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endParaRPr lang="en-US" sz="160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4A98C9B-62F0-77D4-56D2-F53278A39CD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en-US" sz="2000" dirty="0"/>
              <a:t>Understanding both sides is paramount to enable overall system optimiz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C744A6-122C-4BF1-9339-019E08DC0EB4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6E64AC-634E-4B72-BB5C-EC616257C1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16400" y="6433200"/>
            <a:ext cx="6123600" cy="255600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74" name="Text Placeholder 3">
            <a:extLst>
              <a:ext uri="{FF2B5EF4-FFF2-40B4-BE49-F238E27FC236}">
                <a16:creationId xmlns:a16="http://schemas.microsoft.com/office/drawing/2014/main" id="{1D55C9B9-FB7C-9D47-ACC8-D206AD0296DC}"/>
              </a:ext>
            </a:extLst>
          </p:cNvPr>
          <p:cNvSpPr txBox="1">
            <a:spLocks/>
          </p:cNvSpPr>
          <p:nvPr/>
        </p:nvSpPr>
        <p:spPr>
          <a:xfrm>
            <a:off x="932306" y="3138550"/>
            <a:ext cx="2580194" cy="341632"/>
          </a:xfrm>
          <a:prstGeom prst="rect">
            <a:avLst/>
          </a:prstGeom>
          <a:noFill/>
        </p:spPr>
        <p:txBody>
          <a:bodyPr vert="horz" wrap="none" lIns="45720" tIns="45720" rIns="45720" bIns="45720" rtlCol="0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ABBvoice Light" charset="0"/>
                <a:ea typeface="ABBvoice Light" charset="0"/>
                <a:cs typeface="ABBvoice Light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ABBvoice" charset="0"/>
                <a:ea typeface="ABBvoice" charset="0"/>
                <a:cs typeface="ABBvoice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b="1" dirty="0">
                <a:latin typeface="+mn-lt"/>
                <a:ea typeface="ABBvoice" charset="0"/>
                <a:cs typeface="ABBvoice" charset="0"/>
              </a:rPr>
              <a:t>Renewable Generation</a:t>
            </a:r>
          </a:p>
        </p:txBody>
      </p:sp>
      <p:sp>
        <p:nvSpPr>
          <p:cNvPr id="175" name="Text Placeholder 3">
            <a:extLst>
              <a:ext uri="{FF2B5EF4-FFF2-40B4-BE49-F238E27FC236}">
                <a16:creationId xmlns:a16="http://schemas.microsoft.com/office/drawing/2014/main" id="{1D55C9B9-FB7C-9D47-ACC8-D206AD0296DC}"/>
              </a:ext>
            </a:extLst>
          </p:cNvPr>
          <p:cNvSpPr txBox="1">
            <a:spLocks/>
          </p:cNvSpPr>
          <p:nvPr/>
        </p:nvSpPr>
        <p:spPr>
          <a:xfrm>
            <a:off x="5279178" y="3292230"/>
            <a:ext cx="3600050" cy="1346010"/>
          </a:xfrm>
          <a:prstGeom prst="rect">
            <a:avLst/>
          </a:prstGeom>
          <a:noFill/>
        </p:spPr>
        <p:txBody>
          <a:bodyPr vert="horz" wrap="square" lIns="45720" tIns="45720" rIns="45720" bIns="45720" rtlCol="0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ABBvoice Light" charset="0"/>
                <a:ea typeface="ABBvoice Light" charset="0"/>
                <a:cs typeface="ABBvoice Light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ABBvoice" charset="0"/>
                <a:ea typeface="ABBvoice" charset="0"/>
                <a:cs typeface="ABBvoice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>
                <a:latin typeface="+mn-lt"/>
                <a:ea typeface="ABBvoice" charset="0"/>
                <a:cs typeface="ABBvoice" charset="0"/>
              </a:rPr>
              <a:t>Saf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>
                <a:latin typeface="+mn-lt"/>
                <a:ea typeface="ABBvoice" charset="0"/>
                <a:cs typeface="ABBvoice" charset="0"/>
              </a:rPr>
              <a:t>Reliabl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>
                <a:latin typeface="+mn-lt"/>
                <a:ea typeface="ABBvoice" charset="0"/>
                <a:cs typeface="ABBvoice" charset="0"/>
              </a:rPr>
              <a:t>Compliant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CB6C842B-D63E-9348-9649-59460B673FC7}"/>
              </a:ext>
            </a:extLst>
          </p:cNvPr>
          <p:cNvSpPr/>
          <p:nvPr/>
        </p:nvSpPr>
        <p:spPr>
          <a:xfrm>
            <a:off x="998083" y="3571281"/>
            <a:ext cx="2943086" cy="13311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00"/>
              </a:spcBef>
              <a:spcAft>
                <a:spcPts val="600"/>
              </a:spcAft>
            </a:pPr>
            <a:r>
              <a:rPr lang="en-US" sz="1600" dirty="0">
                <a:solidFill>
                  <a:srgbClr val="262626"/>
                </a:solidFill>
                <a:ea typeface="ABBvoice" panose="020D0603020503020204" pitchFamily="34" charset="0"/>
                <a:cs typeface="Arial" panose="020B0604020202020204" pitchFamily="34" charset="0"/>
              </a:rPr>
              <a:t>New types of energy sources: </a:t>
            </a:r>
          </a:p>
          <a:p>
            <a:pPr marL="182880" indent="-18288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Fewer rotating machines</a:t>
            </a:r>
          </a:p>
          <a:p>
            <a:pPr marL="182880" indent="-18288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High variability </a:t>
            </a:r>
          </a:p>
          <a:p>
            <a:pPr marL="182880" indent="-18288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Low predictability </a:t>
            </a:r>
          </a:p>
        </p:txBody>
      </p:sp>
      <p:sp>
        <p:nvSpPr>
          <p:cNvPr id="198" name="Text Placeholder 3">
            <a:extLst>
              <a:ext uri="{FF2B5EF4-FFF2-40B4-BE49-F238E27FC236}">
                <a16:creationId xmlns:a16="http://schemas.microsoft.com/office/drawing/2014/main" id="{1D55C9B9-FB7C-9D47-ACC8-D206AD0296DC}"/>
              </a:ext>
            </a:extLst>
          </p:cNvPr>
          <p:cNvSpPr txBox="1">
            <a:spLocks/>
          </p:cNvSpPr>
          <p:nvPr/>
        </p:nvSpPr>
        <p:spPr>
          <a:xfrm>
            <a:off x="8730363" y="3138550"/>
            <a:ext cx="2451954" cy="341632"/>
          </a:xfrm>
          <a:prstGeom prst="rect">
            <a:avLst/>
          </a:prstGeom>
          <a:noFill/>
        </p:spPr>
        <p:txBody>
          <a:bodyPr vert="horz" wrap="none" lIns="45720" tIns="45720" rIns="45720" bIns="45720" rtlCol="0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ABBvoice Light" charset="0"/>
                <a:ea typeface="ABBvoice Light" charset="0"/>
                <a:cs typeface="ABBvoice Light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ABBvoice" charset="0"/>
                <a:ea typeface="ABBvoice" charset="0"/>
                <a:cs typeface="ABBvoice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b="1" dirty="0">
                <a:latin typeface="+mn-lt"/>
                <a:ea typeface="ABBvoice" charset="0"/>
                <a:cs typeface="ABBvoice" charset="0"/>
              </a:rPr>
              <a:t>Hydrogen Production</a:t>
            </a: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CB6C842B-D63E-9348-9649-59460B673FC7}"/>
              </a:ext>
            </a:extLst>
          </p:cNvPr>
          <p:cNvSpPr/>
          <p:nvPr/>
        </p:nvSpPr>
        <p:spPr>
          <a:xfrm>
            <a:off x="8806764" y="3571281"/>
            <a:ext cx="2943086" cy="13311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00"/>
              </a:spcBef>
              <a:spcAft>
                <a:spcPts val="600"/>
              </a:spcAft>
            </a:pPr>
            <a:r>
              <a:rPr lang="en-US" sz="1600" dirty="0">
                <a:solidFill>
                  <a:srgbClr val="262626"/>
                </a:solidFill>
                <a:cs typeface="Arial" panose="020B0604020202020204" pitchFamily="34" charset="0"/>
              </a:rPr>
              <a:t>New types of electrolyzer loads: </a:t>
            </a:r>
          </a:p>
          <a:p>
            <a:pPr marL="182880" indent="-18288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62626"/>
                </a:solidFill>
                <a:cs typeface="Arial" panose="020B0604020202020204" pitchFamily="34" charset="0"/>
              </a:rPr>
              <a:t>Concentrated</a:t>
            </a:r>
          </a:p>
          <a:p>
            <a:pPr marL="182880" indent="-18288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62626"/>
                </a:solidFill>
                <a:cs typeface="Arial" panose="020B0604020202020204" pitchFamily="34" charset="0"/>
              </a:rPr>
              <a:t>large-scale</a:t>
            </a:r>
          </a:p>
          <a:p>
            <a:pPr marL="182880" indent="-18288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62626"/>
                </a:solidFill>
                <a:cs typeface="Arial" panose="020B0604020202020204" pitchFamily="34" charset="0"/>
              </a:rPr>
              <a:t>Variable power supply</a:t>
            </a:r>
          </a:p>
        </p:txBody>
      </p:sp>
      <p:cxnSp>
        <p:nvCxnSpPr>
          <p:cNvPr id="9" name="Straight Arrow Connector 8"/>
          <p:cNvCxnSpPr>
            <a:cxnSpLocks/>
          </p:cNvCxnSpPr>
          <p:nvPr/>
        </p:nvCxnSpPr>
        <p:spPr>
          <a:xfrm>
            <a:off x="2991235" y="2496245"/>
            <a:ext cx="2160000" cy="0"/>
          </a:xfrm>
          <a:prstGeom prst="straightConnector1">
            <a:avLst/>
          </a:prstGeom>
          <a:ln w="28575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73">
            <a:extLst>
              <a:ext uri="{FF2B5EF4-FFF2-40B4-BE49-F238E27FC236}">
                <a16:creationId xmlns:a16="http://schemas.microsoft.com/office/drawing/2014/main" id="{C3AB744B-CF47-3D6D-BF90-50547EB8C09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p:blipFill>
        <p:spPr>
          <a:xfrm>
            <a:off x="1864759" y="2037763"/>
            <a:ext cx="916965" cy="916965"/>
          </a:xfrm>
          <a:prstGeom prst="rect">
            <a:avLst/>
          </a:prstGeom>
        </p:spPr>
      </p:pic>
      <p:pic>
        <p:nvPicPr>
          <p:cNvPr id="8" name="Graphic 80">
            <a:extLst>
              <a:ext uri="{FF2B5EF4-FFF2-40B4-BE49-F238E27FC236}">
                <a16:creationId xmlns:a16="http://schemas.microsoft.com/office/drawing/2014/main" id="{0308A418-CEE9-76F0-0443-FE10DDD426B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>
            <a:fillRect/>
          </a:stretch>
        </p:blipFill>
        <p:spPr>
          <a:xfrm>
            <a:off x="881352" y="2065559"/>
            <a:ext cx="916965" cy="916965"/>
          </a:xfrm>
          <a:prstGeom prst="rect">
            <a:avLst/>
          </a:prstGeom>
        </p:spPr>
      </p:pic>
      <p:pic>
        <p:nvPicPr>
          <p:cNvPr id="13" name="Graphique 75">
            <a:extLst>
              <a:ext uri="{FF2B5EF4-FFF2-40B4-BE49-F238E27FC236}">
                <a16:creationId xmlns:a16="http://schemas.microsoft.com/office/drawing/2014/main" id="{60AA4533-2C43-2A3C-1224-3DD457B6896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>
            <a:fillRect/>
          </a:stretch>
        </p:blipFill>
        <p:spPr>
          <a:xfrm>
            <a:off x="6400777" y="2065559"/>
            <a:ext cx="916965" cy="916965"/>
          </a:xfrm>
          <a:prstGeom prst="rect">
            <a:avLst/>
          </a:prstGeom>
        </p:spPr>
      </p:pic>
      <p:pic>
        <p:nvPicPr>
          <p:cNvPr id="20" name="Graphic 19" descr="Electric Tower outline">
            <a:extLst>
              <a:ext uri="{FF2B5EF4-FFF2-40B4-BE49-F238E27FC236}">
                <a16:creationId xmlns:a16="http://schemas.microsoft.com/office/drawing/2014/main" id="{A89AAAD1-AAF3-4266-04B5-7524D372C7BF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384731" y="1977322"/>
            <a:ext cx="914400" cy="914400"/>
          </a:xfrm>
          <a:prstGeom prst="rect">
            <a:avLst/>
          </a:prstGeom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AB7B629-4CCB-EC18-A987-8E6FEF24A04A}"/>
              </a:ext>
            </a:extLst>
          </p:cNvPr>
          <p:cNvCxnSpPr>
            <a:cxnSpLocks/>
          </p:cNvCxnSpPr>
          <p:nvPr/>
        </p:nvCxnSpPr>
        <p:spPr>
          <a:xfrm>
            <a:off x="7511014" y="2486064"/>
            <a:ext cx="2160000" cy="0"/>
          </a:xfrm>
          <a:prstGeom prst="straightConnector1">
            <a:avLst/>
          </a:prstGeom>
          <a:ln w="28575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phic 23">
            <a:extLst>
              <a:ext uri="{FF2B5EF4-FFF2-40B4-BE49-F238E27FC236}">
                <a16:creationId xmlns:a16="http://schemas.microsoft.com/office/drawing/2014/main" id="{443930E0-9751-B4E1-73C0-9DDE1CF5A2DF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>
            <a:fillRect/>
          </a:stretch>
        </p:blipFill>
        <p:spPr>
          <a:xfrm>
            <a:off x="9984626" y="2084443"/>
            <a:ext cx="879196" cy="879196"/>
          </a:xfrm>
          <a:prstGeom prst="rect">
            <a:avLst/>
          </a:prstGeom>
        </p:spPr>
      </p:pic>
      <p:sp>
        <p:nvSpPr>
          <p:cNvPr id="26" name="Title 25">
            <a:extLst>
              <a:ext uri="{FF2B5EF4-FFF2-40B4-BE49-F238E27FC236}">
                <a16:creationId xmlns:a16="http://schemas.microsoft.com/office/drawing/2014/main" id="{0BAD40FC-642F-EBBB-C1DD-BC34F507A2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Power-to-Ga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7405117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 : coins arrondis 57">
            <a:extLst>
              <a:ext uri="{FF2B5EF4-FFF2-40B4-BE49-F238E27FC236}">
                <a16:creationId xmlns:a16="http://schemas.microsoft.com/office/drawing/2014/main" id="{81DC8DCA-19B0-C1F1-105C-099534016117}"/>
              </a:ext>
            </a:extLst>
          </p:cNvPr>
          <p:cNvSpPr/>
          <p:nvPr/>
        </p:nvSpPr>
        <p:spPr>
          <a:xfrm>
            <a:off x="263521" y="1623040"/>
            <a:ext cx="11664955" cy="31584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fr-CH" sz="1400" dirty="0">
              <a:solidFill>
                <a:schemeClr val="tx1"/>
              </a:solidFill>
            </a:endParaRPr>
          </a:p>
        </p:txBody>
      </p:sp>
      <p:sp>
        <p:nvSpPr>
          <p:cNvPr id="68" name="Content Placeholder 67">
            <a:extLst>
              <a:ext uri="{FF2B5EF4-FFF2-40B4-BE49-F238E27FC236}">
                <a16:creationId xmlns:a16="http://schemas.microsoft.com/office/drawing/2014/main" id="{0725BF14-53C0-3E9F-55A7-886FEAB6380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63521" y="4973500"/>
            <a:ext cx="11664955" cy="1444984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2000" b="1" dirty="0"/>
              <a:t>Earning your trust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2000" b="1" dirty="0"/>
              <a:t>                                    from early studies…</a:t>
            </a:r>
          </a:p>
          <a:p>
            <a:pPr lvl="5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2000" b="1" dirty="0"/>
              <a:t>                                                                            through project realization….</a:t>
            </a:r>
          </a:p>
          <a:p>
            <a:pPr lvl="5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2000" b="1" dirty="0"/>
              <a:t>                                                                                                                                   to long-term service</a:t>
            </a:r>
            <a:endParaRPr lang="en-CH" sz="2000" b="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6427D2-8267-7EBD-E024-1CCA2E99A3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Power-to-Gas</a:t>
            </a:r>
            <a:endParaRPr lang="en-CH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5DB13A-10C4-FCBE-18F8-34BDE1D7078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3416400" y="6456496"/>
            <a:ext cx="6688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92780E-904F-E611-44D6-848DA6813ECF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11" name="Graphic 69">
            <a:extLst>
              <a:ext uri="{FF2B5EF4-FFF2-40B4-BE49-F238E27FC236}">
                <a16:creationId xmlns:a16="http://schemas.microsoft.com/office/drawing/2014/main" id="{E3EDE1E3-273C-EE2D-1D60-848F0BF7291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730543" y="2506221"/>
            <a:ext cx="540000" cy="540000"/>
          </a:xfrm>
          <a:prstGeom prst="rect">
            <a:avLst/>
          </a:prstGeom>
        </p:spPr>
      </p:pic>
      <p:pic>
        <p:nvPicPr>
          <p:cNvPr id="12" name="Graphique 61">
            <a:extLst>
              <a:ext uri="{FF2B5EF4-FFF2-40B4-BE49-F238E27FC236}">
                <a16:creationId xmlns:a16="http://schemas.microsoft.com/office/drawing/2014/main" id="{F4B29F0C-4B9B-E97D-7B40-176A7662ED6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>
            <a:fillRect/>
          </a:stretch>
        </p:blipFill>
        <p:spPr>
          <a:xfrm>
            <a:off x="1947883" y="2506221"/>
            <a:ext cx="540000" cy="540000"/>
          </a:xfrm>
          <a:prstGeom prst="rect">
            <a:avLst/>
          </a:prstGeom>
        </p:spPr>
      </p:pic>
      <p:pic>
        <p:nvPicPr>
          <p:cNvPr id="14" name="Graphique 63">
            <a:extLst>
              <a:ext uri="{FF2B5EF4-FFF2-40B4-BE49-F238E27FC236}">
                <a16:creationId xmlns:a16="http://schemas.microsoft.com/office/drawing/2014/main" id="{515E3700-D446-277A-6358-C49C8B2791C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>
            <a:fillRect/>
          </a:stretch>
        </p:blipFill>
        <p:spPr>
          <a:xfrm>
            <a:off x="5839213" y="2506221"/>
            <a:ext cx="540000" cy="540000"/>
          </a:xfrm>
          <a:prstGeom prst="rect">
            <a:avLst/>
          </a:prstGeom>
        </p:spPr>
      </p:pic>
      <p:pic>
        <p:nvPicPr>
          <p:cNvPr id="15" name="Graphique 60">
            <a:extLst>
              <a:ext uri="{FF2B5EF4-FFF2-40B4-BE49-F238E27FC236}">
                <a16:creationId xmlns:a16="http://schemas.microsoft.com/office/drawing/2014/main" id="{141CDA59-F006-F05E-6FA1-FAA2EC2B023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>
            <a:fillRect/>
          </a:stretch>
        </p:blipFill>
        <p:spPr>
          <a:xfrm>
            <a:off x="3244993" y="2506221"/>
            <a:ext cx="540000" cy="540000"/>
          </a:xfrm>
          <a:prstGeom prst="rect">
            <a:avLst/>
          </a:prstGeom>
        </p:spPr>
      </p:pic>
      <p:pic>
        <p:nvPicPr>
          <p:cNvPr id="16" name="Graphique 62">
            <a:extLst>
              <a:ext uri="{FF2B5EF4-FFF2-40B4-BE49-F238E27FC236}">
                <a16:creationId xmlns:a16="http://schemas.microsoft.com/office/drawing/2014/main" id="{C9125C34-E208-897B-DBF3-98F43B122AF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>
            <a:fillRect/>
          </a:stretch>
        </p:blipFill>
        <p:spPr>
          <a:xfrm>
            <a:off x="650773" y="2506221"/>
            <a:ext cx="540000" cy="540000"/>
          </a:xfrm>
          <a:prstGeom prst="rect">
            <a:avLst/>
          </a:prstGeom>
        </p:spPr>
      </p:pic>
      <p:pic>
        <p:nvPicPr>
          <p:cNvPr id="17" name="Graphique 64">
            <a:extLst>
              <a:ext uri="{FF2B5EF4-FFF2-40B4-BE49-F238E27FC236}">
                <a16:creationId xmlns:a16="http://schemas.microsoft.com/office/drawing/2014/main" id="{C087256B-CDA9-BEA1-5A3F-BCF82A55E9F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rcRect/>
          <a:stretch>
            <a:fillRect/>
          </a:stretch>
        </p:blipFill>
        <p:spPr>
          <a:xfrm>
            <a:off x="4542103" y="2506221"/>
            <a:ext cx="540000" cy="540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742CC95-B5C3-5ABF-6066-7C201BF78903}"/>
              </a:ext>
            </a:extLst>
          </p:cNvPr>
          <p:cNvSpPr/>
          <p:nvPr/>
        </p:nvSpPr>
        <p:spPr>
          <a:xfrm>
            <a:off x="200773" y="2016512"/>
            <a:ext cx="1440000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buClr>
                <a:srgbClr val="002897"/>
              </a:buClr>
            </a:pPr>
            <a:r>
              <a:rPr lang="en-US" sz="1200" dirty="0">
                <a:ea typeface="ABBvoice" charset="0"/>
                <a:cs typeface="ABBvoice" charset="0"/>
              </a:rPr>
              <a:t>HV grid connec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EC24DC5-2296-87F6-9632-DD1640AC8C6A}"/>
              </a:ext>
            </a:extLst>
          </p:cNvPr>
          <p:cNvSpPr/>
          <p:nvPr/>
        </p:nvSpPr>
        <p:spPr>
          <a:xfrm>
            <a:off x="1497883" y="1939672"/>
            <a:ext cx="1440000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spcBef>
                <a:spcPts val="699"/>
              </a:spcBef>
              <a:buClr>
                <a:srgbClr val="002897"/>
              </a:buClr>
            </a:pPr>
            <a:r>
              <a:rPr lang="en-US" sz="1200" dirty="0">
                <a:ea typeface="ABBvoice" charset="0"/>
                <a:cs typeface="ABBvoice" charset="0"/>
              </a:rPr>
              <a:t>Power transformer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A61ECE9-F36F-8756-5409-107C4BF0EB32}"/>
              </a:ext>
            </a:extLst>
          </p:cNvPr>
          <p:cNvSpPr/>
          <p:nvPr/>
        </p:nvSpPr>
        <p:spPr>
          <a:xfrm>
            <a:off x="2794993" y="2124338"/>
            <a:ext cx="1440000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spcBef>
                <a:spcPts val="699"/>
              </a:spcBef>
              <a:buClr>
                <a:srgbClr val="002897"/>
              </a:buClr>
            </a:pPr>
            <a:r>
              <a:rPr lang="en-US" sz="1200" dirty="0">
                <a:ea typeface="ABBvoice" charset="0"/>
                <a:cs typeface="ABBvoice" charset="0"/>
              </a:rPr>
              <a:t>MV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2B143EA-228D-A809-BD24-CE4E463F283E}"/>
              </a:ext>
            </a:extLst>
          </p:cNvPr>
          <p:cNvSpPr/>
          <p:nvPr/>
        </p:nvSpPr>
        <p:spPr>
          <a:xfrm>
            <a:off x="4092103" y="1939672"/>
            <a:ext cx="1440000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spcBef>
                <a:spcPts val="699"/>
              </a:spcBef>
              <a:buClr>
                <a:srgbClr val="002897"/>
              </a:buClr>
            </a:pPr>
            <a:r>
              <a:rPr lang="en-US" sz="1200" dirty="0">
                <a:ea typeface="ABBvoice" charset="0"/>
                <a:cs typeface="ABBvoice" charset="0"/>
              </a:rPr>
              <a:t>Rectifier transformer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772C292-3ED7-E6B8-3F9A-7E2D8A35A0C6}"/>
              </a:ext>
            </a:extLst>
          </p:cNvPr>
          <p:cNvSpPr/>
          <p:nvPr/>
        </p:nvSpPr>
        <p:spPr>
          <a:xfrm>
            <a:off x="5389213" y="1939672"/>
            <a:ext cx="1440000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spcBef>
                <a:spcPts val="699"/>
              </a:spcBef>
              <a:buClr>
                <a:srgbClr val="002897"/>
              </a:buClr>
            </a:pPr>
            <a:r>
              <a:rPr lang="en-US" sz="1200" dirty="0">
                <a:ea typeface="ABBvoice" charset="0"/>
                <a:cs typeface="ABBvoice" charset="0"/>
              </a:rPr>
              <a:t>AC/DC </a:t>
            </a:r>
            <a:br>
              <a:rPr lang="en-US" sz="1200" dirty="0">
                <a:ea typeface="ABBvoice" charset="0"/>
                <a:cs typeface="ABBvoice" charset="0"/>
              </a:rPr>
            </a:br>
            <a:r>
              <a:rPr lang="en-US" sz="1200" dirty="0">
                <a:ea typeface="ABBvoice" charset="0"/>
                <a:cs typeface="ABBvoice" charset="0"/>
              </a:rPr>
              <a:t>rectifier</a:t>
            </a:r>
          </a:p>
        </p:txBody>
      </p:sp>
      <p:pic>
        <p:nvPicPr>
          <p:cNvPr id="23" name="Graphique 72">
            <a:extLst>
              <a:ext uri="{FF2B5EF4-FFF2-40B4-BE49-F238E27FC236}">
                <a16:creationId xmlns:a16="http://schemas.microsoft.com/office/drawing/2014/main" id="{6B97B01A-8149-F012-5DF0-18A2197626E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rcRect/>
          <a:stretch>
            <a:fillRect/>
          </a:stretch>
        </p:blipFill>
        <p:spPr>
          <a:xfrm>
            <a:off x="11027656" y="2506221"/>
            <a:ext cx="540000" cy="54000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22D7BC8-A3FC-EEFC-6F79-98240E562FC8}"/>
              </a:ext>
            </a:extLst>
          </p:cNvPr>
          <p:cNvSpPr/>
          <p:nvPr/>
        </p:nvSpPr>
        <p:spPr>
          <a:xfrm>
            <a:off x="10577656" y="2124338"/>
            <a:ext cx="1440000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spcBef>
                <a:spcPts val="699"/>
              </a:spcBef>
              <a:buClr>
                <a:srgbClr val="002897"/>
              </a:buClr>
            </a:pPr>
            <a:r>
              <a:rPr lang="en-US" sz="1200" dirty="0">
                <a:ea typeface="ABBvoice" charset="0"/>
                <a:cs typeface="ABBvoice" charset="0"/>
              </a:rPr>
              <a:t>Storag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C5EBF96-0D8A-E12D-27EF-B9D9991895B3}"/>
              </a:ext>
            </a:extLst>
          </p:cNvPr>
          <p:cNvSpPr/>
          <p:nvPr/>
        </p:nvSpPr>
        <p:spPr>
          <a:xfrm>
            <a:off x="9280543" y="2124338"/>
            <a:ext cx="1440000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spcBef>
                <a:spcPts val="699"/>
              </a:spcBef>
              <a:buClr>
                <a:srgbClr val="002897"/>
              </a:buClr>
            </a:pPr>
            <a:r>
              <a:rPr lang="en-US" sz="1200" dirty="0">
                <a:ea typeface="ABBvoice" charset="0"/>
                <a:cs typeface="ABBvoice" charset="0"/>
              </a:rPr>
              <a:t>Compression</a:t>
            </a:r>
          </a:p>
        </p:txBody>
      </p:sp>
      <p:pic>
        <p:nvPicPr>
          <p:cNvPr id="27" name="Graphique 77">
            <a:extLst>
              <a:ext uri="{FF2B5EF4-FFF2-40B4-BE49-F238E27FC236}">
                <a16:creationId xmlns:a16="http://schemas.microsoft.com/office/drawing/2014/main" id="{7DB4B1C8-40ED-52D7-C1B6-68D5E1B262B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rcRect/>
          <a:stretch>
            <a:fillRect/>
          </a:stretch>
        </p:blipFill>
        <p:spPr>
          <a:xfrm>
            <a:off x="3244993" y="3658650"/>
            <a:ext cx="540000" cy="540000"/>
          </a:xfrm>
          <a:prstGeom prst="rect">
            <a:avLst/>
          </a:prstGeom>
        </p:spPr>
      </p:pic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2A18B5AA-88A4-2E24-B536-33452DE41317}"/>
              </a:ext>
            </a:extLst>
          </p:cNvPr>
          <p:cNvSpPr txBox="1">
            <a:spLocks/>
          </p:cNvSpPr>
          <p:nvPr/>
        </p:nvSpPr>
        <p:spPr>
          <a:xfrm>
            <a:off x="263524" y="1074400"/>
            <a:ext cx="11664954" cy="5486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bg1"/>
                </a:solidFill>
              </a:rPr>
              <a:t>The Hitachi Energy Way – From Grid-to-Stack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1961FAC-E416-522D-0C40-F0C6FBFACC01}"/>
              </a:ext>
            </a:extLst>
          </p:cNvPr>
          <p:cNvSpPr/>
          <p:nvPr/>
        </p:nvSpPr>
        <p:spPr>
          <a:xfrm>
            <a:off x="6686323" y="2124338"/>
            <a:ext cx="1440000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spcBef>
                <a:spcPts val="699"/>
              </a:spcBef>
              <a:buClr>
                <a:srgbClr val="002897"/>
              </a:buClr>
            </a:pPr>
            <a:r>
              <a:rPr lang="en-US" sz="1200" dirty="0">
                <a:ea typeface="ABBvoice" charset="0"/>
                <a:cs typeface="ABBvoice" charset="0"/>
              </a:rPr>
              <a:t>Electrolyzer</a:t>
            </a:r>
          </a:p>
        </p:txBody>
      </p:sp>
      <p:pic>
        <p:nvPicPr>
          <p:cNvPr id="40" name="Graphique 145">
            <a:extLst>
              <a:ext uri="{FF2B5EF4-FFF2-40B4-BE49-F238E27FC236}">
                <a16:creationId xmlns:a16="http://schemas.microsoft.com/office/drawing/2014/main" id="{546C3E68-87C7-AA5B-1F39-10CCBB516BD2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rcRect/>
          <a:stretch>
            <a:fillRect/>
          </a:stretch>
        </p:blipFill>
        <p:spPr>
          <a:xfrm>
            <a:off x="7136323" y="2506221"/>
            <a:ext cx="540000" cy="540000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F0BB2E7B-5B56-4B87-76B0-2784D978073E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rcRect/>
          <a:stretch>
            <a:fillRect/>
          </a:stretch>
        </p:blipFill>
        <p:spPr>
          <a:xfrm>
            <a:off x="8433433" y="2506221"/>
            <a:ext cx="540000" cy="5400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86A49BFC-5772-2C11-CC9D-72A27B9C3DD6}"/>
              </a:ext>
            </a:extLst>
          </p:cNvPr>
          <p:cNvSpPr/>
          <p:nvPr/>
        </p:nvSpPr>
        <p:spPr>
          <a:xfrm>
            <a:off x="7983433" y="2124338"/>
            <a:ext cx="1440000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spcBef>
                <a:spcPts val="699"/>
              </a:spcBef>
              <a:buClr>
                <a:srgbClr val="002897"/>
              </a:buClr>
            </a:pPr>
            <a:r>
              <a:rPr lang="en-US" sz="1200" dirty="0">
                <a:ea typeface="ABBvoice" charset="0"/>
                <a:cs typeface="ABBvoice" charset="0"/>
              </a:rPr>
              <a:t>Hydrogen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5234912-10A0-24D3-D06C-393570174051}"/>
              </a:ext>
            </a:extLst>
          </p:cNvPr>
          <p:cNvSpPr/>
          <p:nvPr/>
        </p:nvSpPr>
        <p:spPr>
          <a:xfrm>
            <a:off x="2794993" y="3323990"/>
            <a:ext cx="1440000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spcBef>
                <a:spcPts val="699"/>
              </a:spcBef>
              <a:buClr>
                <a:srgbClr val="002897"/>
              </a:buClr>
            </a:pPr>
            <a:r>
              <a:rPr lang="en-US" sz="1200" dirty="0">
                <a:ea typeface="ABBvoice" charset="0"/>
                <a:cs typeface="ABBvoice" charset="0"/>
              </a:rPr>
              <a:t>Power Quality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53769FDB-D24E-AAF3-D6C4-E2DA31F5B0D2}"/>
              </a:ext>
            </a:extLst>
          </p:cNvPr>
          <p:cNvCxnSpPr>
            <a:cxnSpLocks/>
          </p:cNvCxnSpPr>
          <p:nvPr/>
        </p:nvCxnSpPr>
        <p:spPr>
          <a:xfrm>
            <a:off x="1353251" y="2757401"/>
            <a:ext cx="35925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1F5B759-8094-4142-C63D-32187AF782DF}"/>
              </a:ext>
            </a:extLst>
          </p:cNvPr>
          <p:cNvCxnSpPr>
            <a:cxnSpLocks/>
          </p:cNvCxnSpPr>
          <p:nvPr/>
        </p:nvCxnSpPr>
        <p:spPr>
          <a:xfrm>
            <a:off x="2671629" y="2757401"/>
            <a:ext cx="35925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5B7B59D-2DC4-A996-A24B-717748E2D52E}"/>
              </a:ext>
            </a:extLst>
          </p:cNvPr>
          <p:cNvCxnSpPr>
            <a:cxnSpLocks/>
          </p:cNvCxnSpPr>
          <p:nvPr/>
        </p:nvCxnSpPr>
        <p:spPr>
          <a:xfrm>
            <a:off x="4054565" y="2757401"/>
            <a:ext cx="35925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732630E-0828-119B-29A4-D0427AAA24E2}"/>
              </a:ext>
            </a:extLst>
          </p:cNvPr>
          <p:cNvCxnSpPr>
            <a:cxnSpLocks/>
          </p:cNvCxnSpPr>
          <p:nvPr/>
        </p:nvCxnSpPr>
        <p:spPr>
          <a:xfrm>
            <a:off x="5209584" y="2757401"/>
            <a:ext cx="35925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8BEF0CF-D936-5872-6223-D4761E9CFB73}"/>
              </a:ext>
            </a:extLst>
          </p:cNvPr>
          <p:cNvCxnSpPr>
            <a:cxnSpLocks/>
          </p:cNvCxnSpPr>
          <p:nvPr/>
        </p:nvCxnSpPr>
        <p:spPr>
          <a:xfrm>
            <a:off x="6560482" y="2757401"/>
            <a:ext cx="35925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AB75175-830A-C51A-A4BF-93F02AF72A2E}"/>
              </a:ext>
            </a:extLst>
          </p:cNvPr>
          <p:cNvCxnSpPr>
            <a:cxnSpLocks/>
          </p:cNvCxnSpPr>
          <p:nvPr/>
        </p:nvCxnSpPr>
        <p:spPr>
          <a:xfrm>
            <a:off x="7803804" y="2757401"/>
            <a:ext cx="35925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53A9206-E48C-C1C4-AD49-BFE04FB163C9}"/>
              </a:ext>
            </a:extLst>
          </p:cNvPr>
          <p:cNvCxnSpPr>
            <a:cxnSpLocks/>
          </p:cNvCxnSpPr>
          <p:nvPr/>
        </p:nvCxnSpPr>
        <p:spPr>
          <a:xfrm>
            <a:off x="9119524" y="2757401"/>
            <a:ext cx="35925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7D8A61CD-1D54-DB86-522C-5E9D9664A15E}"/>
              </a:ext>
            </a:extLst>
          </p:cNvPr>
          <p:cNvCxnSpPr>
            <a:cxnSpLocks/>
          </p:cNvCxnSpPr>
          <p:nvPr/>
        </p:nvCxnSpPr>
        <p:spPr>
          <a:xfrm>
            <a:off x="10398027" y="2757401"/>
            <a:ext cx="35925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4BEFDD27-B869-2A03-5D6B-E2EC058E5248}"/>
              </a:ext>
            </a:extLst>
          </p:cNvPr>
          <p:cNvCxnSpPr>
            <a:cxnSpLocks/>
          </p:cNvCxnSpPr>
          <p:nvPr/>
        </p:nvCxnSpPr>
        <p:spPr>
          <a:xfrm flipV="1">
            <a:off x="3514993" y="3115887"/>
            <a:ext cx="0" cy="18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 : coins arrondis 58">
            <a:extLst>
              <a:ext uri="{FF2B5EF4-FFF2-40B4-BE49-F238E27FC236}">
                <a16:creationId xmlns:a16="http://schemas.microsoft.com/office/drawing/2014/main" id="{6E268E8C-8D81-261E-F8A6-431EF6EB9A37}"/>
              </a:ext>
            </a:extLst>
          </p:cNvPr>
          <p:cNvSpPr/>
          <p:nvPr/>
        </p:nvSpPr>
        <p:spPr>
          <a:xfrm>
            <a:off x="422329" y="1786796"/>
            <a:ext cx="6326368" cy="2840068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fr-CH" sz="1400" err="1">
              <a:solidFill>
                <a:schemeClr val="tx1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7D29F288-037C-310B-8105-25F54172C8F3}"/>
              </a:ext>
            </a:extLst>
          </p:cNvPr>
          <p:cNvSpPr/>
          <p:nvPr/>
        </p:nvSpPr>
        <p:spPr>
          <a:xfrm>
            <a:off x="6712921" y="4339546"/>
            <a:ext cx="210399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US" sz="1200" b="1" dirty="0">
                <a:latin typeface="Arial" panose="020B0604020202020204" pitchFamily="34" charset="0"/>
                <a:ea typeface="ABBvoice" panose="020D0603020503020204" pitchFamily="34" charset="0"/>
                <a:cs typeface="Arial" panose="020B0604020202020204" pitchFamily="34" charset="0"/>
              </a:rPr>
              <a:t>End-User</a:t>
            </a:r>
            <a:endParaRPr lang="en-US" sz="1200" b="1" dirty="0"/>
          </a:p>
        </p:txBody>
      </p:sp>
      <p:pic>
        <p:nvPicPr>
          <p:cNvPr id="61" name="Graphic 60" descr="Construction worker female outline">
            <a:extLst>
              <a:ext uri="{FF2B5EF4-FFF2-40B4-BE49-F238E27FC236}">
                <a16:creationId xmlns:a16="http://schemas.microsoft.com/office/drawing/2014/main" id="{005AF7C7-54AD-7C84-2D41-D71CB1015BF1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5821071" y="3600615"/>
            <a:ext cx="540000" cy="540000"/>
          </a:xfrm>
          <a:prstGeom prst="rect">
            <a:avLst/>
          </a:prstGeom>
        </p:spPr>
      </p:pic>
      <p:pic>
        <p:nvPicPr>
          <p:cNvPr id="65" name="Graphic 64" descr="Ui Ux outline">
            <a:extLst>
              <a:ext uri="{FF2B5EF4-FFF2-40B4-BE49-F238E27FC236}">
                <a16:creationId xmlns:a16="http://schemas.microsoft.com/office/drawing/2014/main" id="{8AF0663C-F517-3E6C-6A6E-CDA72AB20BE1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4542103" y="3631437"/>
            <a:ext cx="540000" cy="540000"/>
          </a:xfrm>
          <a:prstGeom prst="rect">
            <a:avLst/>
          </a:prstGeom>
        </p:spPr>
      </p:pic>
      <p:sp>
        <p:nvSpPr>
          <p:cNvPr id="66" name="Rectangle 65">
            <a:extLst>
              <a:ext uri="{FF2B5EF4-FFF2-40B4-BE49-F238E27FC236}">
                <a16:creationId xmlns:a16="http://schemas.microsoft.com/office/drawing/2014/main" id="{3B2C1172-8CB2-2338-9824-4E69684EDBA3}"/>
              </a:ext>
            </a:extLst>
          </p:cNvPr>
          <p:cNvSpPr/>
          <p:nvPr/>
        </p:nvSpPr>
        <p:spPr>
          <a:xfrm>
            <a:off x="5371071" y="3323616"/>
            <a:ext cx="1440000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spcBef>
                <a:spcPts val="699"/>
              </a:spcBef>
              <a:buClr>
                <a:srgbClr val="002897"/>
              </a:buClr>
            </a:pPr>
            <a:r>
              <a:rPr lang="en-US" sz="1200" dirty="0">
                <a:solidFill>
                  <a:schemeClr val="bg1">
                    <a:lumMod val="65000"/>
                  </a:schemeClr>
                </a:solidFill>
                <a:ea typeface="ABBvoice" charset="0"/>
                <a:cs typeface="ABBvoice" charset="0"/>
              </a:rPr>
              <a:t>Service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FB3B0426-0863-0C87-A671-7AC52EB7DB9A}"/>
              </a:ext>
            </a:extLst>
          </p:cNvPr>
          <p:cNvSpPr/>
          <p:nvPr/>
        </p:nvSpPr>
        <p:spPr>
          <a:xfrm>
            <a:off x="3938331" y="3338253"/>
            <a:ext cx="1747543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spcBef>
                <a:spcPts val="699"/>
              </a:spcBef>
              <a:buClr>
                <a:srgbClr val="002897"/>
              </a:buClr>
            </a:pPr>
            <a:r>
              <a:rPr lang="en-US" sz="1200" dirty="0">
                <a:solidFill>
                  <a:schemeClr val="bg1">
                    <a:lumMod val="65000"/>
                  </a:schemeClr>
                </a:solidFill>
                <a:ea typeface="ABBvoice" charset="0"/>
                <a:cs typeface="ABBvoice" charset="0"/>
              </a:rPr>
              <a:t>SCADA / EMS</a:t>
            </a:r>
          </a:p>
        </p:txBody>
      </p:sp>
      <p:pic>
        <p:nvPicPr>
          <p:cNvPr id="70" name="Graphic 69" descr="Head with gears outline">
            <a:extLst>
              <a:ext uri="{FF2B5EF4-FFF2-40B4-BE49-F238E27FC236}">
                <a16:creationId xmlns:a16="http://schemas.microsoft.com/office/drawing/2014/main" id="{8F766674-DA0D-FFB5-BC6D-2E3BF178ABF4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1262879" y="3632837"/>
            <a:ext cx="540000" cy="54000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E65EE732-8419-EB94-5E85-2182FE1B930D}"/>
              </a:ext>
            </a:extLst>
          </p:cNvPr>
          <p:cNvSpPr/>
          <p:nvPr/>
        </p:nvSpPr>
        <p:spPr>
          <a:xfrm>
            <a:off x="659107" y="3323616"/>
            <a:ext cx="1747543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spcBef>
                <a:spcPts val="699"/>
              </a:spcBef>
              <a:buClr>
                <a:srgbClr val="002897"/>
              </a:buClr>
            </a:pPr>
            <a:r>
              <a:rPr lang="en-US" sz="1200" dirty="0">
                <a:solidFill>
                  <a:schemeClr val="bg1">
                    <a:lumMod val="65000"/>
                  </a:schemeClr>
                </a:solidFill>
                <a:ea typeface="ABBvoice" charset="0"/>
                <a:cs typeface="ABBvoice" charset="0"/>
              </a:rPr>
              <a:t>Studies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09D7EF7B-FB0C-93FC-E331-9726738939BA}"/>
              </a:ext>
            </a:extLst>
          </p:cNvPr>
          <p:cNvSpPr/>
          <p:nvPr/>
        </p:nvSpPr>
        <p:spPr>
          <a:xfrm>
            <a:off x="286467" y="4339546"/>
            <a:ext cx="210399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US" sz="1200" b="1" dirty="0">
                <a:solidFill>
                  <a:schemeClr val="tx2"/>
                </a:solidFill>
                <a:latin typeface="Arial" panose="020B0604020202020204" pitchFamily="34" charset="0"/>
                <a:ea typeface="ABBvoice" panose="020D0603020503020204" pitchFamily="34" charset="0"/>
                <a:cs typeface="Arial" panose="020B0604020202020204" pitchFamily="34" charset="0"/>
              </a:rPr>
              <a:t>Hitachi Energy</a:t>
            </a:r>
            <a:endParaRPr lang="en-US" sz="12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86148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3AC9CE-F1BE-4E48-BEF1-15A814B59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Power-to-Gas – </a:t>
            </a:r>
            <a:r>
              <a:rPr lang="en-US" b="0" dirty="0" err="1"/>
              <a:t>Ovako</a:t>
            </a:r>
            <a:r>
              <a:rPr lang="en-US" b="0" dirty="0"/>
              <a:t>, Sweden</a:t>
            </a:r>
            <a:endParaRPr lang="en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762835-FA26-D394-964A-F994F1FB96CD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3416400" y="6456496"/>
            <a:ext cx="6688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273148-6E1B-747B-1CEC-A08617737E9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7" name="Espace réservé pour une image  18" descr="Une image contenant acier, ingénierie, machine, intérieur&#10;&#10;Description générée automatiquement">
            <a:extLst>
              <a:ext uri="{FF2B5EF4-FFF2-40B4-BE49-F238E27FC236}">
                <a16:creationId xmlns:a16="http://schemas.microsoft.com/office/drawing/2014/main" id="{99611EDC-BAB2-24F1-6A53-4F4AA86387A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75" b="8039"/>
          <a:stretch/>
        </p:blipFill>
        <p:spPr>
          <a:xfrm>
            <a:off x="5148318" y="1125451"/>
            <a:ext cx="6780158" cy="5274000"/>
          </a:xfrm>
          <a:prstGeom prst="rect">
            <a:avLst/>
          </a:prstGeom>
          <a:noFill/>
        </p:spPr>
      </p:pic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96B1A816-F52E-1692-323B-82AB0ED81335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263524" y="1125538"/>
            <a:ext cx="4596151" cy="5274086"/>
          </a:xfrm>
        </p:spPr>
        <p:txBody>
          <a:bodyPr lIns="180000" tIns="180000" rIns="180000" bIns="36000"/>
          <a:lstStyle/>
          <a:p>
            <a:pPr algn="ctr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2400" dirty="0"/>
              <a:t>Consortium lead by </a:t>
            </a:r>
            <a:r>
              <a:rPr lang="en-US" sz="2400" dirty="0" err="1"/>
              <a:t>Ovako</a:t>
            </a:r>
            <a:r>
              <a:rPr lang="en-US" sz="2400" dirty="0"/>
              <a:t> with Volvo, Nel, H2GS and Hitachi Energy</a:t>
            </a:r>
          </a:p>
          <a:p>
            <a:pPr algn="ctr">
              <a:spcBef>
                <a:spcPts val="0"/>
              </a:spcBef>
              <a:spcAft>
                <a:spcPts val="300"/>
              </a:spcAft>
              <a:buNone/>
            </a:pPr>
            <a:endParaRPr lang="en-US" sz="2400" dirty="0"/>
          </a:p>
          <a:p>
            <a:pPr algn="ctr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2400" dirty="0"/>
              <a:t>20MW alkaline electrolysis solution</a:t>
            </a:r>
          </a:p>
          <a:p>
            <a:pPr algn="ctr">
              <a:spcBef>
                <a:spcPts val="0"/>
              </a:spcBef>
              <a:spcAft>
                <a:spcPts val="300"/>
              </a:spcAft>
              <a:buNone/>
            </a:pPr>
            <a:endParaRPr lang="en-US" sz="2400" dirty="0"/>
          </a:p>
          <a:p>
            <a:pPr algn="ctr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2400" dirty="0"/>
              <a:t>replaced natural gas with green hydrogen</a:t>
            </a:r>
          </a:p>
          <a:p>
            <a:pPr algn="ctr">
              <a:spcBef>
                <a:spcPts val="0"/>
              </a:spcBef>
              <a:spcAft>
                <a:spcPts val="300"/>
              </a:spcAft>
              <a:buNone/>
            </a:pPr>
            <a:endParaRPr lang="en-US" sz="2400" dirty="0"/>
          </a:p>
          <a:p>
            <a:pPr algn="ctr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2400" dirty="0"/>
              <a:t>now offering green steel at a premium price!</a:t>
            </a:r>
          </a:p>
          <a:p>
            <a:pPr algn="ctr">
              <a:spcAft>
                <a:spcPts val="1200"/>
              </a:spcAft>
              <a:buNone/>
            </a:pPr>
            <a:endParaRPr lang="en-US" sz="2400" dirty="0"/>
          </a:p>
          <a:p>
            <a:pPr algn="ctr">
              <a:buNone/>
            </a:pPr>
            <a:endParaRPr lang="en-US" sz="2400" dirty="0"/>
          </a:p>
          <a:p>
            <a:pPr algn="ctr">
              <a:buNone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2629956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BA501-9949-4105-AB9A-FAC2CFD335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3" y="187199"/>
            <a:ext cx="9556751" cy="435600"/>
          </a:xfrm>
        </p:spPr>
        <p:txBody>
          <a:bodyPr/>
          <a:lstStyle/>
          <a:p>
            <a:r>
              <a:rPr lang="de-CH" dirty="0"/>
              <a:t>Gas-</a:t>
            </a:r>
            <a:r>
              <a:rPr lang="de-CH" dirty="0" err="1"/>
              <a:t>to</a:t>
            </a:r>
            <a:r>
              <a:rPr lang="de-CH" dirty="0"/>
              <a:t>-Power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D58FA04-4D18-4F20-B755-23C1ED99EDB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263525" y="1125538"/>
            <a:ext cx="3689350" cy="5274086"/>
          </a:xfrm>
        </p:spPr>
        <p:txBody>
          <a:bodyPr lIns="180000" tIns="180000" rIns="180000" bIns="36000"/>
          <a:lstStyle/>
          <a:p>
            <a:pPr algn="ctr">
              <a:buNone/>
            </a:pPr>
            <a:r>
              <a:rPr lang="en-US" sz="2400" dirty="0"/>
              <a:t>Based on zero emission fuel cell technology</a:t>
            </a:r>
          </a:p>
          <a:p>
            <a:pPr algn="ctr"/>
            <a:endParaRPr lang="en-US" sz="2400" dirty="0"/>
          </a:p>
          <a:p>
            <a:pPr algn="ctr"/>
            <a:endParaRPr lang="en-US" sz="2400" dirty="0"/>
          </a:p>
          <a:p>
            <a:pPr algn="ctr"/>
            <a:r>
              <a:rPr lang="en-US" sz="2400" dirty="0"/>
              <a:t>Electrify your assets, decarbonize your operations</a:t>
            </a:r>
          </a:p>
          <a:p>
            <a:pPr algn="ctr"/>
            <a:endParaRPr lang="en-US" sz="2400" dirty="0"/>
          </a:p>
          <a:p>
            <a:pPr algn="ctr"/>
            <a:endParaRPr lang="en-US" sz="2400" dirty="0"/>
          </a:p>
          <a:p>
            <a:pPr algn="ctr"/>
            <a:r>
              <a:rPr lang="en-US" sz="2400" dirty="0"/>
              <a:t>Advance a sustainable energy future for all!</a:t>
            </a:r>
          </a:p>
          <a:p>
            <a:pPr algn="ctr">
              <a:buNone/>
            </a:pPr>
            <a:endParaRPr lang="en-US" sz="18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09DDA1-5769-4D42-9E7A-63514B7A703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3416400" y="6456496"/>
            <a:ext cx="6688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28AF25-2FBB-45F4-83F7-CBEB7DBB166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34FF8AC-4BE8-0D0B-1003-7AF50F2D4B4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7"/>
          <a:stretch/>
        </p:blipFill>
        <p:spPr>
          <a:xfrm>
            <a:off x="4115793" y="2407590"/>
            <a:ext cx="7812682" cy="399203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3EB2D86-ACDF-7F89-1CFD-25484A2C5703}"/>
              </a:ext>
            </a:extLst>
          </p:cNvPr>
          <p:cNvSpPr txBox="1"/>
          <p:nvPr/>
        </p:nvSpPr>
        <p:spPr>
          <a:xfrm>
            <a:off x="4115793" y="1016683"/>
            <a:ext cx="7812682" cy="128205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1200"/>
              </a:spcAft>
            </a:pPr>
            <a:r>
              <a:rPr lang="en-US" sz="3600" dirty="0" err="1"/>
              <a:t>HyFlex</a:t>
            </a:r>
            <a:r>
              <a:rPr lang="en-US" sz="3600" baseline="30000" dirty="0" err="1"/>
              <a:t>TM</a:t>
            </a:r>
            <a:r>
              <a:rPr lang="en-US" sz="3600" dirty="0"/>
              <a:t> hydrogen power generator</a:t>
            </a:r>
          </a:p>
          <a:p>
            <a:pPr>
              <a:spcAft>
                <a:spcPts val="1200"/>
              </a:spcAft>
            </a:pPr>
            <a:r>
              <a:rPr lang="en-US" sz="3600" dirty="0"/>
              <a:t>From 400 kVA to 1 MVA+</a:t>
            </a:r>
            <a:endParaRPr lang="en-CH" sz="3600" dirty="0"/>
          </a:p>
          <a:p>
            <a:pPr algn="l">
              <a:spcAft>
                <a:spcPts val="1200"/>
              </a:spcAft>
            </a:pP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3630305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1B56A72-F68A-456F-81DC-3662024B8F1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" r="95"/>
          <a:stretch/>
        </p:blipFill>
        <p:spPr>
          <a:xfrm>
            <a:off x="0" y="868519"/>
            <a:ext cx="12191779" cy="50228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82A5C1-937E-47A7-95B4-1E5712F54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3" y="187199"/>
            <a:ext cx="9671051" cy="435600"/>
          </a:xfrm>
        </p:spPr>
        <p:txBody>
          <a:bodyPr/>
          <a:lstStyle/>
          <a:p>
            <a:r>
              <a:rPr lang="de-CH" dirty="0"/>
              <a:t>How it works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F86F21-EDB0-46CF-97EA-D95CCA09484F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3416400" y="6456496"/>
            <a:ext cx="6688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ED0D02-4C69-41FB-93EB-BD6C62D0E813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2439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chjehen\AppData\Local\Temp\Templafy\PowerPointVsto\Assets\gis_hv_mv.s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AP0948\AppData\Local\Temp\Templafy\PowerPointVsto\Assets\transformer_02.s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chjehen\AppData\Local\Temp\Templafy\PowerPointVsto\Assets\silos.sv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AP0948\AppData\Local\Temp\Templafy\PowerPointVsto\Assets\charm.s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chjehen\AppData\Local\Temp\Templafy\PowerPointVsto\Assets\water system.s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NR5576\AppData\Local\Templafy\AddIns\PowerPointVsto\Green hydrogen.s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BX9cn19U8bGir9_qMS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AP0948\AppData\Local\Temp\Templafy\PowerPointVsto\Assets\solar_panel.s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AP0948\AppData\Local\Temp\Templafy\PowerPointVsto\Assets\windmill.s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AP0948\AppData\Local\Temp\Templafy\PowerPointVsto\Assets\control_panel.s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NR5576\AppData\Local\Templafy\AddIns\PowerPointVsto\Green hydrogen.s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AP0948\AppData\Local\Temp\Templafy\PowerPointVsto\Assets\transformer_01.s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AP0948\AppData\Local\Temp\Templafy\PowerPointVsto\Assets\switchgear_3.s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CHJEHEN\AppData\Local\Temp\Templafy\PowerPointVsto\Assets\switchgear_mns.svg"/>
</p:tagLst>
</file>

<file path=ppt/theme/theme1.xml><?xml version="1.0" encoding="utf-8"?>
<a:theme xmlns:a="http://schemas.openxmlformats.org/drawingml/2006/main" name="Hitachi Energy">
  <a:themeElements>
    <a:clrScheme name="Custom 1">
      <a:dk1>
        <a:sysClr val="windowText" lastClr="000000"/>
      </a:dk1>
      <a:lt1>
        <a:sysClr val="window" lastClr="FFFFFF"/>
      </a:lt1>
      <a:dk2>
        <a:srgbClr val="FF0026"/>
      </a:dk2>
      <a:lt2>
        <a:srgbClr val="B1000E"/>
      </a:lt2>
      <a:accent1>
        <a:srgbClr val="7E000A"/>
      </a:accent1>
      <a:accent2>
        <a:srgbClr val="2D2D2D"/>
      </a:accent2>
      <a:accent3>
        <a:srgbClr val="4D4D4D"/>
      </a:accent3>
      <a:accent4>
        <a:srgbClr val="737373"/>
      </a:accent4>
      <a:accent5>
        <a:srgbClr val="B3B3B3"/>
      </a:accent5>
      <a:accent6>
        <a:srgbClr val="D9D9D9"/>
      </a:accent6>
      <a:hlink>
        <a:srgbClr val="FF0026"/>
      </a:hlink>
      <a:folHlink>
        <a:srgbClr val="B1000E"/>
      </a:folHlink>
    </a:clrScheme>
    <a:fontScheme name="Hitachi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0000"/>
        </a:solidFill>
        <a:ln>
          <a:noFill/>
        </a:ln>
      </a:spPr>
      <a:bodyPr rtlCol="0" anchor="t"/>
      <a:lstStyle>
        <a:defPPr algn="l">
          <a:defRPr sz="14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custClrLst>
    <a:custClr>
      <a:srgbClr val="2D2D2D"/>
    </a:custClr>
    <a:custClr>
      <a:srgbClr val="4D4D4D"/>
    </a:custClr>
    <a:custClr>
      <a:srgbClr val="737373"/>
    </a:custClr>
    <a:custClr>
      <a:srgbClr val="B3B3B3"/>
    </a:custClr>
    <a:custClr>
      <a:srgbClr val="D9D9D9"/>
    </a:custClr>
  </a:custClrLst>
  <a:extLst>
    <a:ext uri="{05A4C25C-085E-4340-85A3-A5531E510DB2}">
      <thm15:themeFamily xmlns:thm15="http://schemas.microsoft.com/office/thememl/2012/main" name="Presentation1" id="{387C3827-3C38-46B7-B7EF-08EF35410397}" vid="{3B3D2B3F-8A4F-4ADB-94D9-D2E79CCA1AC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 panose="020B0604020202020204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Arial"/>
        <a:font script="Uigh" typeface="Arial"/>
        <a:font script="Geor" typeface="Arial"/>
        <a:font script="Armn" typeface="Arial"/>
        <a:font script="Bugi" typeface="Arial"/>
        <a:font script="Bopo" typeface="Arial"/>
        <a:font script="Java" typeface="Arial"/>
        <a:font script="Lisu" typeface="Arial"/>
        <a:font script="Mymr" typeface="Arial"/>
        <a:font script="Nkoo" typeface="Arial"/>
        <a:font script="Olck" typeface="Arial"/>
        <a:font script="Osma" typeface="Arial"/>
        <a:font script="Phag" typeface="Arial"/>
        <a:font script="Syrn" typeface="Arial"/>
        <a:font script="Syrj" typeface="Arial"/>
        <a:font script="Syre" typeface="Arial"/>
        <a:font script="Sora" typeface="Arial"/>
        <a:font script="Tale" typeface="Arial"/>
        <a:font script="Talu" typeface="Arial"/>
        <a:font script="Tfng" typeface="Arial"/>
      </a:majorFont>
      <a:minorFont>
        <a:latin typeface="Arial" panose="020B0604020202020204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Arial"/>
        <a:font script="Uigh" typeface="Arial"/>
        <a:font script="Geor" typeface="Arial"/>
        <a:font script="Armn" typeface="Arial"/>
        <a:font script="Bugi" typeface="Arial"/>
        <a:font script="Bopo" typeface="Arial"/>
        <a:font script="Java" typeface="Arial"/>
        <a:font script="Lisu" typeface="Arial"/>
        <a:font script="Mymr" typeface="Arial"/>
        <a:font script="Nkoo" typeface="Arial"/>
        <a:font script="Olck" typeface="Arial"/>
        <a:font script="Osma" typeface="Arial"/>
        <a:font script="Phag" typeface="Arial"/>
        <a:font script="Syrn" typeface="Arial"/>
        <a:font script="Syrj" typeface="Arial"/>
        <a:font script="Syre" typeface="Arial"/>
        <a:font script="Sora" typeface="Arial"/>
        <a:font script="Tale" typeface="Arial"/>
        <a:font script="Talu" typeface="Arial"/>
        <a:font script="Tfng"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>
      <a:srgbClr val="2D2D2D"/>
    </a:custClr>
    <a:custClr>
      <a:srgbClr val="4D4D4D"/>
    </a:custClr>
    <a:custClr>
      <a:srgbClr val="737373"/>
    </a:custClr>
    <a:custClr>
      <a:srgbClr val="B3B3B3"/>
    </a:custClr>
    <a:custClr>
      <a:srgbClr val="D9D9D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0,"isValidatorEnabled":false,"isLocked":false,"elementsMetadata":[],"slideId":"638022854132151031","enableDocumentContentUpdater":true,"version":"1.11"}]]></TemplafySlideTemplateConfiguration>
</file>

<file path=customXml/item10.xml><?xml version="1.0" encoding="utf-8"?>
<TemplafyTemplateConfiguration><![CDATA[{"elementsMetadata":[],"transformationConfigurations":[{"propertyName":"title","propertyValue":"{{Form.DocumentTitle}}","disableUpdates":false,"type":"documentProperty"},{"propertyName":"SecurityLevel","propertyValue":"{{Form.PSecurityLevel.SecurityLevels}}","disableUpdates":false,"type":"customDocumentProperty"},{"propertyName":"subject","propertyValue":"{{Form.SupplementaryTitle}}","disableUpdates":false,"type":"documentProperty"},{"propertyName":"CreatorName","propertyValue":"{{UserProfile.Name}}","disableUpdates":false,"type":"customDocumentProperty"},{"propertyName":"DocumentKind","propertyValue":"Presentation","disableUpdates":false,"type":"customDocumentProperty"},{"propertyName":"DocumentId","propertyValue":"{{Form.DocumentID}}","disableUpdates":false,"type":"customDocumentProperty"},{"propertyName":"SupplementaryTitle","propertyValue":"{{Form.SupplementaryTitle}}","disableUpdates":false,"type":"customDocumentProperty"},{"propertyName":"DocumentTitle","propertyValue":"{{Form.DocumentTitle}}","disableUpdates":false,"type":"customDocumentProperty"},{"propertyName":"CopyrightYear","propertyValue":"{{Form.CopyrightInformation}}","disableUpdates":false,"type":"customDocumentProperty"},{"propertyName":"DocumentRevisionId","propertyValue":"{{Form.Prevision}}","disableUpdates":false,"type":"customDocumentProperty"},{"propertyName":"Date","propertyValue":"{{Form.Date}}","disableUpdates":false,"type":"customDocumentProperty"},{"propertyName":"Eventanddate","propertyValue":"{{Form.Eventanddate}}","disableUpdates":false,"type":"customDocumentProperty"},{"propertyName":"PreparedByPerson","propertyValue":"{{Form.PPreparedBy}}","disableUpdates":false,"type":"customDocumentProperty"},{"propertyName":"AdditionalInformation","propertyValue":"{{Form.AdditionalInformation}}","disableUpdates":false,"type":"customDocumentProperty"}],"templateName":"","templateDescription":"","enableDocumentContentUpdater":true,"version":"1.11"}]]></TemplafyTemplateConfiguration>
</file>

<file path=customXml/item11.xml><?xml version="1.0" encoding="utf-8"?>
<TemplafySlideTemplateConfiguration><![CDATA[{"slideVersion":0,"isValidatorEnabled":false,"isLocked":false,"elementsMetadata":[],"slideId":"637287745125731910","enableDocumentContentUpdater":true,"version":"1.11"}]]></TemplafySlideTemplateConfiguration>
</file>

<file path=customXml/item12.xml><?xml version="1.0" encoding="utf-8"?>
<TemplafySlideTemplateConfiguration><![CDATA[{"slideVersion":0,"isValidatorEnabled":false,"isLocked":false,"elementsMetadata":[],"slideId":"637696682962146042","enableDocumentContentUpdater":true,"version":"1.11"}]]></TemplafySlideTemplateConfiguration>
</file>

<file path=customXml/item13.xml><?xml version="1.0" encoding="utf-8"?>
<TemplafySlideTemplateConfiguration><![CDATA[{"slideVersion":0,"isValidatorEnabled":false,"isLocked":false,"elementsMetadata":[],"slideId":"638022854132151031","enableDocumentContentUpdater":true,"version":"1.11"}]]></TemplafySlideTemplateConfiguration>
</file>

<file path=customXml/item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d8bebe1-8bdf-4166-a89f-8dc3f0b86b70">
      <Terms xmlns="http://schemas.microsoft.com/office/infopath/2007/PartnerControls"/>
    </lcf76f155ced4ddcb4097134ff3c332f>
    <TaxCatchAll xmlns="7c7a8689-940d-4d54-ad31-7f58b0486aee" xsi:nil="true"/>
  </documentManagement>
</p:properties>
</file>

<file path=customXml/item16.xml><?xml version="1.0" encoding="utf-8"?>
<TemplafySlideTemplateConfiguration><![CDATA[{"slideVersion":0,"isValidatorEnabled":false,"isLocked":false,"elementsMetadata":[],"slideId":"637696682962458584","enableDocumentContentUpdater":true,"version":"1.11"}]]></TemplafySlideTemplate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Update>
  <Cmd case="SkabelonDesign.DocumentData:DefineData" variableName="AdditionalInformation">
    <Doc.Prop.AdditionalInformation>
      <Doc.Prop.AdditionalInformation/>
    </Doc.Prop.AdditionalInformation>
    <s/>
  </Cmd>
  <Cmd case="SkabelonDesign.DocumentData:DefineData" variableName="ReferenceNo">
    <Doc.Prop.ReferenceNo>
      <Doc.Prop.ReferenceNo/>
    </Doc.Prop.ReferenceNo>
    <s/>
  </Cmd>
  <Cmd case="SkabelonDesign.DocumentData:DefineData" variableName="BasedOn">
    <Doc.Prop.BasedOn>
      <Doc.Prop.BasedOn/>
    </Doc.Prop.BasedOn>
    <s/>
  </Cmd>
  <Cmd case="SkabelonDesign.DocumentData:DefineData" variableName="BasedOnDocumentId">
    <Doc.Prop.BasedOnDocumentId>
      <Doc.Prop.BasedOnDocumentId/>
    </Doc.Prop.BasedOnDocumentId>
    <s/>
  </Cmd>
  <Cmd case="SkabelonDesign.DocumentData:DefineData" variableName="BasedOnLanguageCode">
    <Doc.Prop.BasedOnLanguageCode>
      <Doc.Prop.BasedOnLanguageCode/>
    </Doc.Prop.BasedOnLanguageCode>
    <s/>
  </Cmd>
  <Cmd case="SkabelonDesign.DocumentData:DefineData" variableName="BasedOnDocumentRevisionId">
    <Doc.Prop.BasedOnDocumentRevisionId>
      <Doc.Prop.BasedOnDocumentRevisionId/>
    </Doc.Prop.BasedOnDocumentRevisionId>
    <s/>
  </Cmd>
  <Cmd case="SkabelonDesign.DocumentData:DefineData" variableName="BasedOnDocumentPartId">
    <Doc.Prop.BasedOnDocumentPartId>
      <Doc.Prop.BasedOnDocumentPartId/>
    </Doc.Prop.BasedOnDocumentPartId>
    <s/>
  </Cmd>
  <Cmd case="SkabelonDesign.DocumentData:DefineData" variableName="CustomerName">
    <Doc.Prop.CustomerName>
      <Doc.Prop.CustomerName/>
    </Doc.Prop.CustomerName>
    <s/>
  </Cmd>
  <Cmd case="SkabelonDesign.DocumentData:DefineData" variableName="ProjectName">
    <Doc.Prop.ProjectName>
      <Doc.Prop.ProjectName/>
    </Doc.Prop.ProjectName>
    <s/>
  </Cmd>
  <Cmd case="SkabelonDesign.DocumentData:DefineData" variableName="ProjectId">
    <Doc.Prop.ProjectId>
      <Doc.Prop.ProjectId/>
    </Doc.Prop.ProjectId>
    <s/>
  </Cmd>
  <Cmd case="SkabelonDesign.DocumentData:DefineData" variableName="DocumentIdExternal">
    <Doc.Prop.DocumentIdExternal>
      <Doc.Prop.DocumentIdExternal/>
    </Doc.Prop.DocumentIdExternal>
    <s/>
  </Cmd>
  <Cmd case="SkabelonDesign.DocumentData:DefineData" variableName="DocumentClassIdIEC61355">
    <Doc.Prop.DocumentClassIdIEC61355>
      <Doc.Prop.DocumentClassIdIEC61355/>
    </Doc.Prop.DocumentClassIdIEC61355>
    <s/>
  </Cmd>
  <Cmd case="SkabelonDesign.DocumentData:DefineData" variableName="OccurrenceIdIEC61346">
    <Doc.Prop.OccurrenceIdIEC61346>
      <Doc.Prop.OccurrenceIdIEC61346/>
    </Doc.Prop.OccurrenceIdIEC61346>
    <s/>
  </Cmd>
  <Cmd case="SkabelonDesign.DocumentData:DefineData" variableName="DocumentId">
    <Doc.Prop.DocumentId>
      <Doc.Prop.DocumentId/>
    </Doc.Prop.DocumentId>
    <s/>
  </Cmd>
  <Cmd case="SkabelonDesign.DocumentData:UpdateCustomXml" variableName="DocumentId" xpath="(//*[local-name() = 'documentManagement']/*[local-name() = 'ABB_Coll_DocumentId'])"/>
  <Cmd case="SkabelonDesign.DocumentData:DefineData" variableName="Date">
    <Doc.Prop.Date>
      <Doc.Prop.Date/>
    </Doc.Prop.Date>
    <s/>
  </Cmd>
  <Cmd case="SkabelonDesign.DocumentData:DefineData" variableName="Addressinput">
    <Doc.Prop.Addressinput>
      <Doc.Prop.Addressinput/>
    </Doc.Prop.Addressinput>
    <s/>
  </Cmd>
  <Cmd case="SkabelonDesign.DocumentData:DefineData" variableName="Business">
    <Doc.Prop.Business>
      <Doc.Prop.Business/>
    </Doc.Prop.Business>
    <s/>
  </Cmd>
  <Cmd case="SkabelonDesign.DocumentData:DefineData" variableName="CreatorName">
    <Doc.Prop.CreatorName>
      <Doc.Prop.CreatorName/>
    </Doc.Prop.CreatorName>
    <s/>
  </Cmd>
  <Cmd case="SkabelonDesign.DocumentData:DefineData" variableName="From">
    <Doc.Prop.From>
      <Doc.Prop.From/>
    </Doc.Prop.From>
    <s/>
  </Cmd>
  <Cmd case="SkabelonDesign.DocumentData:DefineData" variableName="PhoneDirect">
    <Doc.Prop.PhoneDirect>
      <Doc.Prop.PhoneDirect/>
    </Doc.Prop.PhoneDirect>
    <s/>
  </Cmd>
  <Cmd case="SkabelonDesign.DocumentData:DefineData" variableName="FAXDirect">
    <Doc.Prop.FAXDirect>
      <Doc.Prop.FAXDirect/>
    </Doc.Prop.FAXDirect>
    <s/>
  </Cmd>
  <Cmd case="SkabelonDesign.DocumentData:DefineData" variableName="E-mail">
    <Doc.Prop.E-mail>
      <Doc.Prop.E-mail/>
    </Doc.Prop.E-mail>
    <s/>
  </Cmd>
  <Cmd case="SkabelonDesign.DocumentData:DefineData" variableName="Cc">
    <Doc.Prop.Cc>
      <Doc.Prop.Cc/>
    </Doc.Prop.Cc>
    <s/>
  </Cmd>
  <Cmd case="SkabelonDesign.DocumentData:DefineData" variableName="JobTitle">
    <Doc.Prop.JobTitle>
      <Doc.Prop.JobTitle/>
    </Doc.Prop.JobTitle>
    <s/>
  </Cmd>
  <Cmd case="SkabelonDesign.DocumentData:DefineData" variableName="LanguageCode">
    <Doc.Prop.LanguageCode>
      <Doc.Prop.LanguageCode/>
    </Doc.Prop.LanguageCode>
    <s/>
  </Cmd>
  <cmd case="SkabelonDesign.DocumentData:UpdateCustomXml" variableName="LanguageCode" xpath="(//*[local-name() = 'documentManagement']/*[local-name() = 'o8cb8facb2054f9d919ea0674048ef40']/*[local-name() = 'Terms']/*[local-name() = 'TermInfo']/*[local-name() = 'TermName'])"/>
  <Cmd case="SkabelonDesign.DocumentData:DefineData" variableName="LanguageCodeGUID">
    <Doc.Prop.LanguageCodeGUID>
      <Doc.Prop.LanguageCodeGUID/>
    </Doc.Prop.LanguageCodeGUID>
    <s/>
  </Cmd>
  <cmd case="SkabelonDesign.DocumentData:UpdateCustomXml" variableName="LanguageCodeGUID" xpath="(//*[local-name() = 'documentManagement']/*[local-name() = 'o8cb8facb2054f9d919ea0674048ef40']/*[local-name() = 'Terms']/*[local-name() = 'TermInfo']/*[local-name() = 'TermId'])"/>
  <Cmd case="SkabelonDesign.DocumentData:DefineData" variableName="DocumentRevisionId">
    <Doc.Prop.DocumentRevisionId>
      <Doc.Prop.DocumentRevisionId/>
    </Doc.Prop.DocumentRevisionId>
    <s/>
  </Cmd>
  <Cmd case="SkabelonDesign.DocumentData:UpdateCustomXml" variableName="DocumentRevisionId" xpath="(//*[local-name() = 'documentManagement']/*[local-name() = 'DocumentRevisionId'])"/>
  <Cmd case="SkabelonDesign.DocumentData:DefineData" variableName="SecurityLevel">
    <Doc.Prop.SecurityLevel>
      <Doc.Prop.SecurityLevel/>
    </Doc.Prop.SecurityLevel>
    <s/>
  </Cmd>
  <Cmd case="SkabelonDesign.DocumentData:UpdateCustomXml" variableName="SecurityLevel" xpath="(//*[local-name() = 'documentManagement']/*[local-name() = 'ABB_Coll_SecurityLevel'])"/>
  <Cmd case="SkabelonDesign.DocumentData:DefineData" variableName="DocumentKind">
    <Doc.Prop.DocumentKind>
      <Doc.Prop.DocumentKind/>
    </Doc.Prop.DocumentKind>
    <s/>
  </Cmd>
  <cmd case="SkabelonDesign.DocumentData:UpdateCustomXml" variableName="DocumentKind" xpath="(//*[local-name() = 'documentManagement']/*[local-name() = 'na4369807a744182aff6832bcef961df']/*[local-name() = 'Terms']/*[local-name() = 'TermInfo']/*[local-name() = 'TermName'])"/>
  <Cmd case="SkabelonDesign.DocumentData:DefineData" variableName="DocumentKindGUID">
    <Doc.Prop.DocumentKindGUID>
      <Doc.Prop.DocumentKindGUID/>
    </Doc.Prop.DocumentKindGUID>
    <s/>
  </Cmd>
  <cmd case="SkabelonDesign.DocumentData:UpdateCustomXml" variableName="DocumentKindGUID" xpath="(//*[local-name() = 'documentManagement']/*[local-name() = 'na4369807a744182aff6832bcef961df']/*[local-name() = 'Terms']/*[local-name() = 'TermInfo']/*[local-name() = 'TermId'])"/>
  <Cmd case="SkabelonDesign.DocumentData:DefineData" variableName="CompanyName">
    <Doc.Prop.CompanyName>
      <Doc.Prop.CompanyName/>
    </Doc.Prop.CompanyName>
    <s/>
  </Cmd>
  <Cmd case="SkabelonDesign.DocumentData:DefineData" variableName="POBox">
    <Doc.Prop.POBox>
      <Doc.Prop.POBox/>
    </Doc.Prop.POBox>
    <s/>
  </Cmd>
  <Cmd case="SkabelonDesign.DocumentData:DefineData" variableName="City">
    <Doc.Prop.City>
      <Doc.Prop.City/>
    </Doc.Prop.City>
    <s/>
  </Cmd>
  <Cmd case="SkabelonDesign.DocumentData:DefineData" variableName="PostalAddress">
    <Doc.Prop.PostalAddress>
      <Doc.Prop.PostalAddress/>
    </Doc.Prop.PostalAddress>
    <s/>
  </Cmd>
  <Cmd case="SkabelonDesign.DocumentData:DefineData" variableName="PreparedByPerson">
    <Doc.Prop.PreparedByPerson>
      <Doc.Prop.PreparedByPerson/>
    </Doc.Prop.PreparedByPerson>
    <s/>
  </Cmd>
  <Cmd case="SkabelonDesign.DocumentData:UpdateCustomXml" variableName="PreparedByPerson" xpath="(//*[local-name() = 'documentManagement']/*[local-name() = 'ABB_Coll_PreparedByPerson'])"/>
  <Cmd case="SkabelonDesign.DocumentData:DefineData" variableName="PreparedDate">
    <Doc.Prop.PreparedDate>
      <Doc.Prop.PreparedDate/>
    </Doc.Prop.PreparedDate>
    <s/>
  </Cmd>
  <Cmd case="SkabelonDesign.DocumentData:UpdateCustomXml" variableName="PreparedDate" xpath="(//*[local-name() = 'documentManagement']/*[local-name() = 'ABB_Coll_PreparedDate'])"/>
  <Cmd case="SkabelonDesign.DocumentData:DefineData" variableName="ApprovedByPerson">
    <Doc.Prop.ApprovedByPerson>
      <Doc.Prop.ApprovedByPerson/>
    </Doc.Prop.ApprovedByPerson>
    <s/>
  </Cmd>
  <Cmd case="SkabelonDesign.DocumentData:DefineData" variableName="ApprovalDate">
    <Doc.Prop.ApprovalDate>
      <Doc.Prop.ApprovalDate/>
    </Doc.Prop.ApprovalDate>
    <s/>
  </Cmd>
  <Cmd case="SkabelonDesign.DocumentData:UpdateCustomXml" variableName="ApprovalDate" xpath="(//*[local-name() = 'documentManagement']/*[local-name() = 'ABB_Coll_ApprovalDate'])"/>
  <Cmd case="SkabelonDesign.DocumentData:DefineData" variableName="LifecycleStatus">
    <Doc.Prop.LifecycleStatus>
      <Doc.Prop.LifecycleStatus/>
    </Doc.Prop.LifecycleStatus>
    <s/>
  </Cmd>
  <Cmd case="SkabelonDesign.DocumentData:UpdateCustomXml" variableName="LifecycleStatus" xpath="(//*[local-name() = 'documentManagement']/*[local-name() = 'ABB_Coll_LifecycleStatus'])"/>
  <Cmd case="SkabelonDesign.DocumentData:DefineData" variableName="CopyrightYear">
    <Doc.Prop.CopyrightYear>
      <Doc.Prop.CopyrightYear/>
    </Doc.Prop.CopyrightYear>
    <s/>
  </Cmd>
  <Cmd case="SkabelonDesign.DocumentData:DefineData" variableName="SecurityLevel">
    <Doc.Prop.SecurityLevel>
      <Doc.Prop.SecurityLevel/>
    </Doc.Prop.SecurityLevel>
    <s/>
  </Cmd>
  <Cmd case="SkabelonDesign.DocumentData:DefineData" variableName="Title">
    <Doc.Prop.Title>
      <Doc.Prop.Title/>
    </Doc.Prop.Title>
    <Doc.Prop.DocumentTitle>
      <Doc.Prop.DocumentTitle/>
    </Doc.Prop.DocumentTitle>
    <s/>
  </Cmd>
  <Cmd case="SkabelonDesign.DocumentData:DefineData" variableName="SupplementaryTitle">
    <Doc.Prop.SupplementaryTitle>
      <Doc.Prop.SupplementaryTitle/>
    </Doc.Prop.SupplementaryTitle>
    <s/>
  </Cmd>
  <Cmd case="SkabelonDesign.DocumentData:DefineData" variableName="CategoryTitle">
    <Doc.Prop.CategoryTitle>
      <Doc.Prop.CategoryTitle/>
    </Doc.Prop.CategoryTitle>
    <s/>
  </Cmd>
  <Cmd case="SkabelonDesign.DocumentData:DefineData" variableName="Year">
    <Doc.Prop.Year>
      <Doc.Prop.Year/>
    </Doc.Prop.Year>
    <s/>
  </Cmd>
  <Cmd case="SkabelonDesign.DocumentData:DefineData" variableName="BusinessArea">
    <Doc.Prop.BusinessArea>
      <Doc.Prop.BusinessArea/>
    </Doc.Prop.BusinessArea>
    <s/>
  </Cmd>
  <Cmd case="SkabelonDesign.DocumentData:DefineData" variableName="OwningOrganization">
    <Doc.Prop.OwningOrganization>
      <Doc.Prop.OwningOrganization/>
    </Doc.Prop.OwningOrganization>
    <s/>
  </Cmd>
  <Cmd case="SkabelonDesign.DocumentData:UpdateCustomXml" variableName="OwningOrganization" xpath="(//*[local-name() = 'documentManagement']/*[local-name() = 'ABB_Coll_OwningOrganization'])"/>
  <Cmd case="SkabelonDesign.DocumentData:DefineData" variableName="Status">
    <Doc.Prop.Status>
      <Doc.Prop.Status/>
    </Doc.Prop.Status>
    <s/>
  </Cmd>
  <Cmd case="SkabelonDesign.DocumentData:DefineData" variableName="Term">
    <Doc.Prop.Term>
      <Doc.Prop.Term/>
    </Doc.Prop.Term>
    <s/>
  </Cmd>
  <cmd case="SkabelonDesign.DocumentData:UpdateCustomXml" variableName="Term" xpath="(//*[local-name() = 'documentManagement']/*[local-name() = 'f1a8b6118a1a4f3ebb578e89f20c0a61']/*[local-name() = 'Terms']/*[local-name() = 'TermInfo']/*[local-name() = 'TermName'])"/>
  <Cmd case="SkabelonDesign.DocumentData:DefineData" variableName="TermGUID">
    <Doc.Prop.TermGUID>
      <Doc.Prop.TermGUID/>
    </Doc.Prop.TermGUID>
    <s/>
  </Cmd>
  <cmd case="SkabelonDesign.DocumentData:UpdateCustomXml" variableName="TermGUID" xpath="(//*[local-name() = 'documentManagement']/*[local-name() = 'f1a8b6118a1a4f3ebb578e89f20c0a61']/*[local-name() = 'Terms']/*[local-name() = 'TermInfo']/*[local-name() = 'TermId'])"/>
  <Cmd case="SkabelonDesign.DocumentData:DefineData" variableName="Copyright">
    <Doc.Prop.CopyrightYear>
      <s><![CDATA[© ]]></s>
      <Doc.Prop.CopyrightYear/>
      <s> Hitachi Energy. All rights reserved.</s>
    </Doc.Prop.CopyrightYear>
    <Custom Name="Doc.XPath/*[local-name() = 'GrowBusinessDocument']/*[local-name() = 'DocumentTitle.Title']">
      <Custom Name="Doc.XPath/*[local-name() = 'GrowBusinessDocument']/*[local-name() = 'DocumentTitle.Title']"/>
    </Custom>
    <s/>
  </Cmd>
  <Cmd case="SkabelonDesign.DocumentData:DefineData" variableName="DocumentRevisionIdLabelAndValue">
    <Doc.Prop.DocumentRevisionId>
      <s><![CDATA[ - Rev:  ]]></s>
      <Doc.Prop.DocumentRevisionId/>
    </Doc.Prop.DocumentRevisionId>
    <s/>
  </Cmd>
  <Cmd case="SkabelonDesign.DocumentData:DefineData" variableName="PPMetadata">
    <Doc.Prop.DocumentID>
      <Doc.Prop.Date/>
      <s><![CDATA[ - Document ID:]]></s>
      <Doc.Prop.DocumentID/>
      <DocumentRevisionIdLabelAndValue/>
    </Doc.Prop.DocumentID>
    <Doc.Prop.Date>
      <Doc.Prop.Date/>
    </Doc.Prop.Date>
    <s/>
  </Cmd>
  <Cmd case="SkabelonDesign.DocumentData:DefineData" variableName="DocumentIdLabel">
    <Doc.Prop.DocumentID>
      <s><![CDATA[Document ID.:]]></s>
    </Doc.Prop.DocumentID>
    <s/>
  </Cmd>
  <Cmd case="SkabelonDesign.DocumentData:DefineData" variableName="DocumentRevisionIdLabel">
    <Doc.Prop.DocumentID>
      <s><![CDATA[Rev.:]]></s>
    </Doc.Prop.DocumentID>
    <s/>
  </Cmd>
  <Cmd case="BaseExtensions:If" if-1-type="documentprop" if-1-key="SecurityLevel" if-1-value="Internal">
    <True>
      <Cmd case="BaseExtensions:show-hide-pp" show="True" ShapeNames="Internal"/>
      <Cmd case="BaseExtensions:show-hide-pp" show="False" ShapeNames="Confidential"/>
      <Cmd case="BaseExtensions:show-hide-pp" show="False" ShapeNames="Strictly"/>
      <Cmd case="BaseExtensions:show-hide-pp" show="False" ShapeNames="Public"/>
    </True>
  </Cmd>
  <Cmd case="BaseExtensions:If" if-1-type="documentprop" if-1-key="SecurityLevel" if-1-value="Confidential">
    <True>
      <Cmd case="BaseExtensions:show-hide-pp" show="False" ShapeNames="Internal"/>
      <Cmd case="BaseExtensions:show-hide-pp" show="True" ShapeNames="Confidential"/>
      <Cmd case="BaseExtensions:show-hide-pp" show="False" ShapeNames="Strictly"/>
      <Cmd case="BaseExtensions:show-hide-pp" show="False" ShapeNames="Public"/>
    </True>
  </Cmd>
  <Cmd case="BaseExtensions:If" if-1-type="documentprop" if-1-key="SecurityLevel" if-1-value="Strictly Confidential">
    <True>
      <Cmd case="BaseExtensions:show-hide-pp" show="False" ShapeNames="Internal"/>
      <Cmd case="BaseExtensions:show-hide-pp" show="False" ShapeNames="Confidential"/>
      <Cmd case="BaseExtensions:show-hide-pp" show="True" ShapeNames="Strictly"/>
      <Cmd case="BaseExtensions:show-hide-pp" show="False" ShapeNames="Public"/>
    </True>
  </Cmd>
  <Cmd case="BaseExtensions:If" if-1-type="documentprop" if-1-key="SecurityLevel" if-1-value="Public">
    <True>
      <Cmd case="BaseExtensions:show-hide-pp" show="False" ShapeNames="Internal"/>
      <Cmd case="BaseExtensions:show-hide-pp" show="False" ShapeNames="Confidential"/>
      <Cmd case="BaseExtensions:show-hide-pp" show="False" ShapeNames="Strictly"/>
      <Cmd case="BaseExtensions:show-hide-pp" show="True" ShapeNames="Public"/>
    </True>
  </Cmd>
  <Cmd case="BaseExtensions:If" if-1-type="docpropmap" if-1-key="TemplafyTenantId" if-1-value="+powergrids;+powergridsuat">
    <True>
      <Cmd case="BaseExtensions:find-shape-bring-to-front" layout-1-name="Cover Slide - Brighter Picture A" shape-1-name-1="Strictly" shape-1-name-2="Internal" shape-1-name-3="Public" shape-1-name-4="Confidential" layout-2-name="Cover Slide - Brighter Picture B" shape-2-name-1="Strictly" shape-2-name-2="Internal" shape-2-name-3="Public" shape-2-name-4="Confidential" layout-3-name="Cover Slide - Darker Picture A" shape-3-name-1="Strictly" shape-3-name-2="Internal" shape-3-name-3="Public" shape-3-name-4="Confidential" layout-4-name="Cover Slide - Darker Picture B" shape-4-name-1="Strictly" shape-4-name-2="Internal" shape-4-name-3="Public" shape-4-name-4="Confidential"/>
    </True>
  </Cmd>
</Update>
</file>

<file path=customXml/item2.xml><?xml version="1.0" encoding="utf-8"?>
<TemplafySlideFormConfiguration><![CDATA[{"formFields":[],"formDataEntries":[]}]]></TemplafySlideFormConfiguration>
</file>

<file path=customXml/item20.xml><?xml version="1.0" encoding="utf-8"?>
<TemplafyFormConfiguration><![CDATA[{"formFields":[{"required":true,"placeholder":"","lines":0,"helpTexts":{"prefix":"","postfix":""},"spacing":{},"type":"textBox","name":"DocumentTitle","label":"Title","fullyQualifiedName":"DocumentTitle"},{"required":false,"placeholder":"","lines":0,"helpTexts":{"prefix":"","postfix":""},"spacing":{},"type":"textBox","name":"SupplementaryTitle","label":"Supplementary Title","fullyQualifiedName":"SupplementaryTitle"},{"required":false,"placeholder":"","lines":0,"helpTexts":{"prefix":"","postfix":""},"spacing":{},"type":"textBox","name":"AdditionalInformation","label":"Additional Information","fullyQualifiedName":"AdditionalInformation"},{"required":false,"placeholder":"","lines":0,"defaultValue":"{{UserProfile.Name}}","helpTexts":{"prefix":"","postfix":""},"spacing":{},"type":"textBox","name":"PPreparedBy","label":"Prepared by","fullyQualifiedName":"PPreparedBy"},{"required":false,"helpTexts":{"prefix":"","postfix":""},"spacing":{},"type":"datePicker","name":"Date","label":"Date","fullyQualifiedName":"Date"},{"dataSource":"SecurityLevels","displayColumn":"securityLevels","hideIfNoUserInteractionRequired":false,"distinct":true,"required":true,"autoSelectFirstOption":true,"helpTexts":{"prefix":"","postfix":""},"spacing":{},"type":"dropDown","name":"PSecurityLevel","label":"Security Level","fullyQualifiedName":"PSecurityLevel"},{"required":false,"placeholder":"","lines":0,"helpTexts":{"prefix":"","postfix":""},"spacing":{},"type":"textBox","name":"DocumentID","label":"Document Id","fullyQualifiedName":"DocumentID"},{"dataSource":"P - DocumentID","displayColumn":"documentID","hideIfNoUserInteractionRequired":true,"distinct":true,"required":false,"autoSelectFirstOption":true,"helpTexts":{"prefix":"","postfix":""},"spacing":{},"type":"dropDown","name":"DocumentIDInsertion","label":"Document Id Insertion","fullyQualifiedName":"DocumentIDInsertion"},{"required":false,"placeholder":"","lines":0,"defaultValue":"A","helpTexts":{"prefix":"","postfix":""},"spacing":{},"type":"textBox","name":"Prevision","label":"Document Revision Id.","fullyQualifiedName":"Prevision"},{"dataSource":"P - Revision","displayColumn":"pp_revision","hideIfNoUserInteractionRequired":true,"distinct":true,"required":false,"autoSelectFirstOption":true,"helpTexts":{"prefix":"","postfix":""},"spacing":{},"type":"dropDown","name":"RevisionInsertion","label":"RevisionInsertion","fullyQualifiedName":"RevisionInsertion"},{"required":true,"placeholder":"","lines":0,"defaultValue":"%Date:yyyy%","helpTexts":{"prefix":"","postfix":"Year of first publication - Date format %Date:yyyy%  will be replaced by current year"},"spacing":{},"type":"textBox","name":"CopyrightInformation","label":"Copyright Year","fullyQualifiedName":"CopyrightInformation"}],"formDataEntries":[{"name":"DocumentTitle","value":"HvqUNFXwXK/1VjmEqGsfgaB0/ZpJJeR3H4BD5jeGtOE="},{"name":"AdditionalInformation","value":"rThrtYFcP20awFyBzkJxIw=="},{"name":"Date","value":"IkLSCkTcsKzFEfRnPdc5LQ=="},{"name":"PSecurityLevel","value":"RJrrQsGJfYCYt7bvw/G3IA=="},{"name":"Prevision","value":"+mRM068GdQp/nQUX2BKr8A=="},{"name":"CopyrightInformation","value":"1oGk04moiK3zbFW0MSRvmQ=="}]}]]></TemplafyForm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TemplateConfiguration><![CDATA[{"slideVersion":0,"isValidatorEnabled":false,"isLocked":false,"elementsMetadata":[],"slideId":"637843513762539657","enableDocumentContentUpdater":true,"version":"1.11"}]]></TemplafySlideTemplateConfiguration>
</file>

<file path=customXml/item23.xml><?xml version="1.0" encoding="utf-8"?>
<TemplafySlideTemplateConfiguration><![CDATA[{"slideVersion":0,"isValidatorEnabled":false,"isLocked":false,"elementsMetadata":[],"slideId":"637843513763164662","enableDocumentContentUpdater":true,"version":"1.11"}]]></TemplafySlideTemplateConfiguration>
</file>

<file path=customXml/item24.xml><?xml version="1.0" encoding="utf-8"?>
<TemplafySlideFormConfiguration><![CDATA[{"formFields":[],"formDataEntries":[]}]]></TemplafySlideForm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SlideTemplateConfiguration><![CDATA[{"slideVersion":0,"isValidatorEnabled":false,"isLocked":false,"elementsMetadata":[],"slideId":"638022854132151031","enableDocumentContentUpdater":true,"version":"1.11"}]]></TemplafySlideTemplate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66138BA57EF1A41845679088EA8A2A3" ma:contentTypeVersion="18" ma:contentTypeDescription="Skapa ett nytt dokument." ma:contentTypeScope="" ma:versionID="31d77d76374ff7a50478bb0051ab798c">
  <xsd:schema xmlns:xsd="http://www.w3.org/2001/XMLSchema" xmlns:xs="http://www.w3.org/2001/XMLSchema" xmlns:p="http://schemas.microsoft.com/office/2006/metadata/properties" xmlns:ns2="fd8bebe1-8bdf-4166-a89f-8dc3f0b86b70" xmlns:ns3="7c7a8689-940d-4d54-ad31-7f58b0486aee" targetNamespace="http://schemas.microsoft.com/office/2006/metadata/properties" ma:root="true" ma:fieldsID="79046909b85ce7313c8c48e83fcdce86" ns2:_="" ns3:_="">
    <xsd:import namespace="fd8bebe1-8bdf-4166-a89f-8dc3f0b86b70"/>
    <xsd:import namespace="7c7a8689-940d-4d54-ad31-7f58b0486ae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8bebe1-8bdf-4166-a89f-8dc3f0b86b7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ildmarkeringar" ma:readOnly="false" ma:fieldId="{5cf76f15-5ced-4ddc-b409-7134ff3c332f}" ma:taxonomyMulti="true" ma:sspId="c29f18cf-e7e3-4e28-854c-445b625df5b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7a8689-940d-4d54-ad31-7f58b0486aee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ca0f4e45-f8fb-4085-ac23-2b337b629be9}" ma:internalName="TaxCatchAll" ma:showField="CatchAllData" ma:web="7c7a8689-940d-4d54-ad31-7f58b0486ae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TemplateConfiguration><![CDATA[{"slideVersion":0,"isValidatorEnabled":false,"isLocked":false,"elementsMetadata":[],"slideId":"638022854132151031","enableDocumentContentUpdater":true,"version":"1.11"}]]></TemplafySlideTemplate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ABA60D28-4101-4F86-B608-30153EDD52F8}">
  <ds:schemaRefs/>
</ds:datastoreItem>
</file>

<file path=customXml/itemProps10.xml><?xml version="1.0" encoding="utf-8"?>
<ds:datastoreItem xmlns:ds="http://schemas.openxmlformats.org/officeDocument/2006/customXml" ds:itemID="{1F601B52-E543-4F04-AC3D-890A39608928}">
  <ds:schemaRefs/>
</ds:datastoreItem>
</file>

<file path=customXml/itemProps11.xml><?xml version="1.0" encoding="utf-8"?>
<ds:datastoreItem xmlns:ds="http://schemas.openxmlformats.org/officeDocument/2006/customXml" ds:itemID="{9DD7B876-B6A1-4F4D-8E8F-AD7E79C96D2A}">
  <ds:schemaRefs/>
</ds:datastoreItem>
</file>

<file path=customXml/itemProps12.xml><?xml version="1.0" encoding="utf-8"?>
<ds:datastoreItem xmlns:ds="http://schemas.openxmlformats.org/officeDocument/2006/customXml" ds:itemID="{425D936F-9E85-4FDE-87E3-996BCD3A978F}">
  <ds:schemaRefs/>
</ds:datastoreItem>
</file>

<file path=customXml/itemProps13.xml><?xml version="1.0" encoding="utf-8"?>
<ds:datastoreItem xmlns:ds="http://schemas.openxmlformats.org/officeDocument/2006/customXml" ds:itemID="{DD1D12BC-77ED-4904-88E7-1F3E073FD5E2}">
  <ds:schemaRefs/>
</ds:datastoreItem>
</file>

<file path=customXml/itemProps14.xml><?xml version="1.0" encoding="utf-8"?>
<ds:datastoreItem xmlns:ds="http://schemas.openxmlformats.org/officeDocument/2006/customXml" ds:itemID="{5AEE9C78-2E7A-4C6D-BE2D-9ADBB655EA48}">
  <ds:schemaRefs>
    <ds:schemaRef ds:uri="http://schemas.microsoft.com/sharepoint/v3/contenttype/forms"/>
  </ds:schemaRefs>
</ds:datastoreItem>
</file>

<file path=customXml/itemProps15.xml><?xml version="1.0" encoding="utf-8"?>
<ds:datastoreItem xmlns:ds="http://schemas.openxmlformats.org/officeDocument/2006/customXml" ds:itemID="{50E80447-FC28-4D28-9C04-2275D3558C7C}">
  <ds:schemaRefs>
    <ds:schemaRef ds:uri="http://schemas.microsoft.com/office/2006/metadata/properties"/>
    <ds:schemaRef ds:uri="http://schemas.microsoft.com/office/infopath/2007/PartnerControls"/>
    <ds:schemaRef ds:uri="6ee462cb-9d51-4e8c-9321-b34fdafe1a7a"/>
    <ds:schemaRef ds:uri="http://schemas.microsoft.com/sharepoint/v3"/>
    <ds:schemaRef ds:uri="722dd5b2-38e8-41e9-9147-a5d22c7c84ed"/>
  </ds:schemaRefs>
</ds:datastoreItem>
</file>

<file path=customXml/itemProps16.xml><?xml version="1.0" encoding="utf-8"?>
<ds:datastoreItem xmlns:ds="http://schemas.openxmlformats.org/officeDocument/2006/customXml" ds:itemID="{68DE0FA9-8D5F-4055-8C82-98E130A7723C}">
  <ds:schemaRefs/>
</ds:datastoreItem>
</file>

<file path=customXml/itemProps17.xml><?xml version="1.0" encoding="utf-8"?>
<ds:datastoreItem xmlns:ds="http://schemas.openxmlformats.org/officeDocument/2006/customXml" ds:itemID="{B1AF7ABE-A022-43AF-B06E-44A4E0D7B2E0}">
  <ds:schemaRefs/>
</ds:datastoreItem>
</file>

<file path=customXml/itemProps18.xml><?xml version="1.0" encoding="utf-8"?>
<ds:datastoreItem xmlns:ds="http://schemas.openxmlformats.org/officeDocument/2006/customXml" ds:itemID="{504B8A85-0D97-4994-B9BB-FD0409C236BC}">
  <ds:schemaRefs/>
</ds:datastoreItem>
</file>

<file path=customXml/itemProps19.xml><?xml version="1.0" encoding="utf-8"?>
<ds:datastoreItem xmlns:ds="http://schemas.openxmlformats.org/officeDocument/2006/customXml" ds:itemID="{D1EF1EF6-FA49-4337-A46C-C565ED4628E7}">
  <ds:schemaRefs/>
</ds:datastoreItem>
</file>

<file path=customXml/itemProps2.xml><?xml version="1.0" encoding="utf-8"?>
<ds:datastoreItem xmlns:ds="http://schemas.openxmlformats.org/officeDocument/2006/customXml" ds:itemID="{4024C810-B21A-4D50-91AE-7E6706F331B3}">
  <ds:schemaRefs/>
</ds:datastoreItem>
</file>

<file path=customXml/itemProps20.xml><?xml version="1.0" encoding="utf-8"?>
<ds:datastoreItem xmlns:ds="http://schemas.openxmlformats.org/officeDocument/2006/customXml" ds:itemID="{FD2CC049-3131-4144-8159-F7A6601EFCD5}">
  <ds:schemaRefs/>
</ds:datastoreItem>
</file>

<file path=customXml/itemProps21.xml><?xml version="1.0" encoding="utf-8"?>
<ds:datastoreItem xmlns:ds="http://schemas.openxmlformats.org/officeDocument/2006/customXml" ds:itemID="{9455AF22-1A53-447B-AD31-1F1B067A7718}">
  <ds:schemaRefs/>
</ds:datastoreItem>
</file>

<file path=customXml/itemProps22.xml><?xml version="1.0" encoding="utf-8"?>
<ds:datastoreItem xmlns:ds="http://schemas.openxmlformats.org/officeDocument/2006/customXml" ds:itemID="{72635548-5EB2-4736-B4F7-5F0F579CD2C9}">
  <ds:schemaRefs/>
</ds:datastoreItem>
</file>

<file path=customXml/itemProps23.xml><?xml version="1.0" encoding="utf-8"?>
<ds:datastoreItem xmlns:ds="http://schemas.openxmlformats.org/officeDocument/2006/customXml" ds:itemID="{810D94E0-2429-46A6-A097-D32BD9BF3117}">
  <ds:schemaRefs/>
</ds:datastoreItem>
</file>

<file path=customXml/itemProps24.xml><?xml version="1.0" encoding="utf-8"?>
<ds:datastoreItem xmlns:ds="http://schemas.openxmlformats.org/officeDocument/2006/customXml" ds:itemID="{65F079F1-A702-4CD1-9DDD-B424D976ED93}">
  <ds:schemaRefs/>
</ds:datastoreItem>
</file>

<file path=customXml/itemProps3.xml><?xml version="1.0" encoding="utf-8"?>
<ds:datastoreItem xmlns:ds="http://schemas.openxmlformats.org/officeDocument/2006/customXml" ds:itemID="{CB749B43-FD01-427C-8921-435E54349270}">
  <ds:schemaRefs/>
</ds:datastoreItem>
</file>

<file path=customXml/itemProps4.xml><?xml version="1.0" encoding="utf-8"?>
<ds:datastoreItem xmlns:ds="http://schemas.openxmlformats.org/officeDocument/2006/customXml" ds:itemID="{6CF2CF62-83AF-4608-8058-7FFF1ACFBA94}">
  <ds:schemaRefs/>
</ds:datastoreItem>
</file>

<file path=customXml/itemProps5.xml><?xml version="1.0" encoding="utf-8"?>
<ds:datastoreItem xmlns:ds="http://schemas.openxmlformats.org/officeDocument/2006/customXml" ds:itemID="{1F271DD4-F6E1-4064-A4A7-2469DC73AFEE}">
  <ds:schemaRefs/>
</ds:datastoreItem>
</file>

<file path=customXml/itemProps6.xml><?xml version="1.0" encoding="utf-8"?>
<ds:datastoreItem xmlns:ds="http://schemas.openxmlformats.org/officeDocument/2006/customXml" ds:itemID="{49AD30F3-00DE-4F6C-BD65-229484CA786C}"/>
</file>

<file path=customXml/itemProps7.xml><?xml version="1.0" encoding="utf-8"?>
<ds:datastoreItem xmlns:ds="http://schemas.openxmlformats.org/officeDocument/2006/customXml" ds:itemID="{A10285B6-0631-4380-9E07-E21965FAD3B2}">
  <ds:schemaRefs/>
</ds:datastoreItem>
</file>

<file path=customXml/itemProps8.xml><?xml version="1.0" encoding="utf-8"?>
<ds:datastoreItem xmlns:ds="http://schemas.openxmlformats.org/officeDocument/2006/customXml" ds:itemID="{FB45F1E2-C2EF-4B61-B595-EA55278F7E6C}">
  <ds:schemaRefs/>
</ds:datastoreItem>
</file>

<file path=customXml/itemProps9.xml><?xml version="1.0" encoding="utf-8"?>
<ds:datastoreItem xmlns:ds="http://schemas.openxmlformats.org/officeDocument/2006/customXml" ds:itemID="{BB630220-07DA-403E-BBA9-05F85B824CAB}">
  <ds:schemaRefs/>
</ds:datastoreItem>
</file>

<file path=docMetadata/LabelInfo.xml><?xml version="1.0" encoding="utf-8"?>
<clbl:labelList xmlns:clbl="http://schemas.microsoft.com/office/2020/mipLabelMetadata">
  <clbl:label id="{7831e6d9-dc6c-4cd1-9ec6-1dc2b4133195}" enabled="0" method="" siteId="{7831e6d9-dc6c-4cd1-9ec6-1dc2b413319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JV Master Template_20200514</Template>
  <TotalTime>1637</TotalTime>
  <Words>591</Words>
  <Application>Microsoft Office PowerPoint</Application>
  <PresentationFormat>Widescreen</PresentationFormat>
  <Paragraphs>150</Paragraphs>
  <Slides>15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6" baseType="lpstr">
      <vt:lpstr>Hitachi Energy</vt:lpstr>
      <vt:lpstr>Hydrogen Solutions Martin Frödin</vt:lpstr>
      <vt:lpstr>Why hydrogen?</vt:lpstr>
      <vt:lpstr>Reaching carbon neutrality</vt:lpstr>
      <vt:lpstr>Hitachi Energy supports your hydrogen journey</vt:lpstr>
      <vt:lpstr>Power-to-Gas</vt:lpstr>
      <vt:lpstr>Power-to-Gas</vt:lpstr>
      <vt:lpstr>Power-to-Gas – Ovako, Sweden</vt:lpstr>
      <vt:lpstr>Gas-to-Power</vt:lpstr>
      <vt:lpstr>How it works</vt:lpstr>
      <vt:lpstr>HyFlex applications</vt:lpstr>
      <vt:lpstr>HyFlex inauguration event</vt:lpstr>
      <vt:lpstr>HyFlex customer trials – Gothenburg Harbor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ydrogen Solutions</dc:title>
  <dc:subject/>
  <dc:creator>Charlon De Guzman</dc:creator>
  <cp:lastModifiedBy>Martin Frodin</cp:lastModifiedBy>
  <cp:revision>10</cp:revision>
  <dcterms:created xsi:type="dcterms:W3CDTF">2021-10-11T10:58:20Z</dcterms:created>
  <dcterms:modified xsi:type="dcterms:W3CDTF">2024-05-08T08:42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nfoFinished">
    <vt:lpwstr>True</vt:lpwstr>
  </property>
  <property fmtid="{D5CDD505-2E9C-101B-9397-08002B2CF9AE}" pid="3" name="TemplafyTimeStamp">
    <vt:lpwstr>2022-03-31T19:22:55.7855076Z</vt:lpwstr>
  </property>
  <property fmtid="{D5CDD505-2E9C-101B-9397-08002B2CF9AE}" pid="4" name="TemplafyTenantId">
    <vt:lpwstr>powergrids</vt:lpwstr>
  </property>
  <property fmtid="{D5CDD505-2E9C-101B-9397-08002B2CF9AE}" pid="5" name="TemplafyTemplateId">
    <vt:lpwstr>637695481603974427</vt:lpwstr>
  </property>
  <property fmtid="{D5CDD505-2E9C-101B-9397-08002B2CF9AE}" pid="6" name="TemplafyUserProfileId">
    <vt:lpwstr>637694720632134090</vt:lpwstr>
  </property>
  <property fmtid="{D5CDD505-2E9C-101B-9397-08002B2CF9AE}" pid="7" name="TemplafyLanguageCode">
    <vt:lpwstr>en-US</vt:lpwstr>
  </property>
  <property fmtid="{D5CDD505-2E9C-101B-9397-08002B2CF9AE}" pid="8" name="SecurityLevel">
    <vt:lpwstr>Public</vt:lpwstr>
  </property>
  <property fmtid="{D5CDD505-2E9C-101B-9397-08002B2CF9AE}" pid="9" name="CreatorName">
    <vt:lpwstr>Jerome Henry</vt:lpwstr>
  </property>
  <property fmtid="{D5CDD505-2E9C-101B-9397-08002B2CF9AE}" pid="10" name="DocumentKind">
    <vt:lpwstr>Presentation</vt:lpwstr>
  </property>
  <property fmtid="{D5CDD505-2E9C-101B-9397-08002B2CF9AE}" pid="11" name="DocumentId">
    <vt:lpwstr/>
  </property>
  <property fmtid="{D5CDD505-2E9C-101B-9397-08002B2CF9AE}" pid="12" name="SupplementaryTitle">
    <vt:lpwstr/>
  </property>
  <property fmtid="{D5CDD505-2E9C-101B-9397-08002B2CF9AE}" pid="13" name="DocumentTitle">
    <vt:lpwstr>Hydrogen Solutions</vt:lpwstr>
  </property>
  <property fmtid="{D5CDD505-2E9C-101B-9397-08002B2CF9AE}" pid="14" name="CopyrightYear">
    <vt:lpwstr>2023</vt:lpwstr>
  </property>
  <property fmtid="{D5CDD505-2E9C-101B-9397-08002B2CF9AE}" pid="15" name="DocumentRevisionId">
    <vt:lpwstr>A</vt:lpwstr>
  </property>
  <property fmtid="{D5CDD505-2E9C-101B-9397-08002B2CF9AE}" pid="16" name="Date">
    <vt:lpwstr>2023-03-09</vt:lpwstr>
  </property>
  <property fmtid="{D5CDD505-2E9C-101B-9397-08002B2CF9AE}" pid="17" name="Eventanddate">
    <vt:lpwstr/>
  </property>
  <property fmtid="{D5CDD505-2E9C-101B-9397-08002B2CF9AE}" pid="18" name="PreparedByPerson">
    <vt:lpwstr/>
  </property>
  <property fmtid="{D5CDD505-2E9C-101B-9397-08002B2CF9AE}" pid="19" name="AdditionalInformation">
    <vt:lpwstr>Hitachi Energy</vt:lpwstr>
  </property>
  <property fmtid="{D5CDD505-2E9C-101B-9397-08002B2CF9AE}" pid="20" name="ContentTypeId">
    <vt:lpwstr>0x0101006A753F5342794241BF8D6F408B63A2E3</vt:lpwstr>
  </property>
</Properties>
</file>